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4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30"/>
  </p:notesMasterIdLst>
  <p:handoutMasterIdLst>
    <p:handoutMasterId r:id="rId31"/>
  </p:handoutMasterIdLst>
  <p:sldIdLst>
    <p:sldId id="333" r:id="rId2"/>
    <p:sldId id="376" r:id="rId3"/>
    <p:sldId id="352" r:id="rId4"/>
    <p:sldId id="377" r:id="rId5"/>
    <p:sldId id="335" r:id="rId6"/>
    <p:sldId id="336" r:id="rId7"/>
    <p:sldId id="337" r:id="rId8"/>
    <p:sldId id="339" r:id="rId9"/>
    <p:sldId id="340" r:id="rId10"/>
    <p:sldId id="341" r:id="rId11"/>
    <p:sldId id="342" r:id="rId12"/>
    <p:sldId id="343" r:id="rId13"/>
    <p:sldId id="344" r:id="rId14"/>
    <p:sldId id="345" r:id="rId15"/>
    <p:sldId id="346" r:id="rId16"/>
    <p:sldId id="347" r:id="rId17"/>
    <p:sldId id="348" r:id="rId18"/>
    <p:sldId id="378" r:id="rId19"/>
    <p:sldId id="349" r:id="rId20"/>
    <p:sldId id="379" r:id="rId21"/>
    <p:sldId id="380" r:id="rId22"/>
    <p:sldId id="381" r:id="rId23"/>
    <p:sldId id="372" r:id="rId24"/>
    <p:sldId id="366" r:id="rId25"/>
    <p:sldId id="367" r:id="rId26"/>
    <p:sldId id="368" r:id="rId27"/>
    <p:sldId id="369" r:id="rId28"/>
    <p:sldId id="370" r:id="rId29"/>
  </p:sldIdLst>
  <p:sldSz cx="9901238" cy="6858000"/>
  <p:notesSz cx="6797675" cy="9926638"/>
  <p:custDataLst>
    <p:tags r:id="rId32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66"/>
    <a:srgbClr val="878C96"/>
    <a:srgbClr val="FFFFFF"/>
    <a:srgbClr val="F0CD0A"/>
    <a:srgbClr val="E67800"/>
    <a:srgbClr val="8CB90F"/>
    <a:srgbClr val="004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5" autoAdjust="0"/>
    <p:restoredTop sz="94673" autoAdjust="0"/>
  </p:normalViewPr>
  <p:slideViewPr>
    <p:cSldViewPr>
      <p:cViewPr>
        <p:scale>
          <a:sx n="75" d="100"/>
          <a:sy n="75" d="100"/>
        </p:scale>
        <p:origin x="-1709" y="-634"/>
      </p:cViewPr>
      <p:guideLst>
        <p:guide orient="horz" pos="799"/>
        <p:guide orient="horz" pos="4065"/>
        <p:guide pos="3077"/>
        <p:guide pos="6112"/>
        <p:guide pos="124"/>
        <p:guide pos="31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0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2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8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2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6B1D083-96A8-46C7-8EDA-73D993B5915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/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1" u="none" dirty="0" smtClean="0">
                <a:solidFill>
                  <a:schemeClr val="tx1"/>
                </a:solidFill>
              </a:rPr>
              <a:t>Hinweis:</a:t>
            </a:r>
          </a:p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0" u="none" dirty="0" smtClean="0"/>
              <a:t>Für</a:t>
            </a:r>
            <a:r>
              <a:rPr lang="de-DE" sz="1200" b="0" u="none" baseline="0" dirty="0" smtClean="0"/>
              <a:t> externe Präsentationen bitte immer eine Titelfolie mit der Ressort-Farbe verwenden.</a:t>
            </a:r>
            <a:endParaRPr lang="de-DE" sz="1200" b="0" u="none" dirty="0"/>
          </a:p>
        </p:txBody>
      </p:sp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68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412720"/>
            <a:ext cx="4680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43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489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65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34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9900000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364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9901238" cy="847718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Bei Bedarf kann eine farbige oder transparente </a:t>
            </a:r>
            <a:r>
              <a:rPr lang="de-DE" b="0" dirty="0" err="1" smtClean="0"/>
              <a:t>Textbox</a:t>
            </a:r>
            <a:r>
              <a:rPr lang="de-DE" b="0" dirty="0" smtClean="0"/>
              <a:t> über den Menüpunkt „Einfügen-Elemente-Standard“ eingefügt werden.</a:t>
            </a:r>
          </a:p>
          <a:p>
            <a:pPr lvl="0" algn="l"/>
            <a:r>
              <a:rPr lang="de-DE" b="0" dirty="0" smtClean="0"/>
              <a:t>Sollten Sie eine </a:t>
            </a:r>
            <a:r>
              <a:rPr lang="de-DE" b="0" dirty="0" err="1" smtClean="0"/>
              <a:t>Textbox</a:t>
            </a:r>
            <a:r>
              <a:rPr lang="de-DE" b="0" dirty="0" smtClean="0"/>
              <a:t> einsetzen, müssen Sie, wenn Sie ein bereits eingefügtes Bild austauschen, anschließend das neue Bil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64396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9901238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0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6966899" y="4284000"/>
            <a:ext cx="2520531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Wenn Sie ein bereits eingefügtes Bild austauschen, müssen Sie das neue Bild anschließen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13733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9901238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52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6598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25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38649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0"/>
            <a:ext cx="9901238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9901238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4481796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096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5"/>
            <a:ext cx="9901238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9901238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3402000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44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9901238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4481796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249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9901238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2798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00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884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123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7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52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12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8000" y="1412720"/>
            <a:ext cx="9504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527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270775"/>
            <a:ext cx="9504000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ie Formate des Vorlagentextes zu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900"/>
            </a:lvl1pPr>
          </a:lstStyle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51" r:id="rId2"/>
    <p:sldLayoutId id="2147483653" r:id="rId3"/>
    <p:sldLayoutId id="2147483720" r:id="rId4"/>
    <p:sldLayoutId id="2147483721" r:id="rId5"/>
    <p:sldLayoutId id="2147483722" r:id="rId6"/>
    <p:sldLayoutId id="2147483655" r:id="rId7"/>
    <p:sldLayoutId id="2147483656" r:id="rId8"/>
    <p:sldLayoutId id="2147483700" r:id="rId9"/>
    <p:sldLayoutId id="2147483717" r:id="rId10"/>
    <p:sldLayoutId id="2147483723" r:id="rId11"/>
    <p:sldLayoutId id="2147483724" r:id="rId12"/>
    <p:sldLayoutId id="2147483725" r:id="rId13"/>
    <p:sldLayoutId id="2147483716" r:id="rId14"/>
    <p:sldLayoutId id="2147483697" r:id="rId15"/>
    <p:sldLayoutId id="2147483681" r:id="rId16"/>
    <p:sldLayoutId id="2147483674" r:id="rId17"/>
    <p:sldLayoutId id="2147483673" r:id="rId18"/>
    <p:sldLayoutId id="2147483718" r:id="rId19"/>
    <p:sldLayoutId id="2147483719" r:id="rId20"/>
    <p:sldLayoutId id="2147483670" r:id="rId21"/>
    <p:sldLayoutId id="2147483671" r:id="rId22"/>
    <p:sldLayoutId id="2147483702" r:id="rId23"/>
    <p:sldLayoutId id="2147483701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5" Type="http://schemas.openxmlformats.org/officeDocument/2006/relationships/image" Target="../media/image240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8.png"/><Relationship Id="rId5" Type="http://schemas.openxmlformats.org/officeDocument/2006/relationships/image" Target="../media/image4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29.png"/><Relationship Id="rId21" Type="http://schemas.openxmlformats.org/officeDocument/2006/relationships/image" Target="../media/image47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tags" Target="../tags/tag3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0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8.png"/><Relationship Id="rId5" Type="http://schemas.openxmlformats.org/officeDocument/2006/relationships/tags" Target="../tags/tag35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61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56.png"/><Relationship Id="rId17" Type="http://schemas.openxmlformats.org/officeDocument/2006/relationships/image" Target="../media/image6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tags" Target="../tags/tag36.xml"/><Relationship Id="rId6" Type="http://schemas.openxmlformats.org/officeDocument/2006/relationships/image" Target="../media/image32.png"/><Relationship Id="rId11" Type="http://schemas.openxmlformats.org/officeDocument/2006/relationships/image" Target="../media/image55.png"/><Relationship Id="rId5" Type="http://schemas.openxmlformats.org/officeDocument/2006/relationships/image" Target="../media/image31.pn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19" Type="http://schemas.openxmlformats.org/officeDocument/2006/relationships/image" Target="../media/image62.png"/><Relationship Id="rId4" Type="http://schemas.openxmlformats.org/officeDocument/2006/relationships/image" Target="../media/image30.png"/><Relationship Id="rId9" Type="http://schemas.openxmlformats.org/officeDocument/2006/relationships/image" Target="../media/image53.pn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50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50.xml"/><Relationship Id="rId9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60.xml"/><Relationship Id="rId9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9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7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13.png"/><Relationship Id="rId5" Type="http://schemas.openxmlformats.org/officeDocument/2006/relationships/image" Target="../media/image120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11" Type="http://schemas.openxmlformats.org/officeDocument/2006/relationships/tags" Target="../tags/tag26.xml"/><Relationship Id="rId5" Type="http://schemas.openxmlformats.org/officeDocument/2006/relationships/image" Target="../media/image15.png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W_PICTURE_PLACEHOLDER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" y="692696"/>
            <a:ext cx="9900712" cy="2517648"/>
          </a:xfrm>
          <a:prstGeom prst="rect">
            <a:avLst/>
          </a:prstGeom>
        </p:spPr>
      </p:pic>
      <p:sp>
        <p:nvSpPr>
          <p:cNvPr id="7" name="Titelbox"/>
          <p:cNvSpPr txBox="1">
            <a:spLocks noChangeArrowheads="1"/>
          </p:cNvSpPr>
          <p:nvPr/>
        </p:nvSpPr>
        <p:spPr bwMode="auto">
          <a:xfrm>
            <a:off x="200025" y="3913188"/>
            <a:ext cx="9501188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79388"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39750"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19138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763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335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0907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479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2400" b="1" dirty="0" smtClean="0"/>
              <a:t>Vorschlag SAT-Ablauf </a:t>
            </a:r>
            <a:r>
              <a:rPr lang="de-DE" altLang="de-DE" sz="2400" b="1" dirty="0"/>
              <a:t>ganzjährig </a:t>
            </a:r>
          </a:p>
        </p:txBody>
      </p:sp>
      <p:sp>
        <p:nvSpPr>
          <p:cNvPr id="8" name="Untertitelbox"/>
          <p:cNvSpPr txBox="1">
            <a:spLocks noChangeArrowheads="1"/>
          </p:cNvSpPr>
          <p:nvPr/>
        </p:nvSpPr>
        <p:spPr bwMode="auto">
          <a:xfrm>
            <a:off x="200025" y="4776788"/>
            <a:ext cx="9501188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85738" indent="-184150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1450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44513" indent="-184150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28663" indent="-182563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2400" dirty="0" smtClean="0"/>
              <a:t>inkl. </a:t>
            </a:r>
            <a:r>
              <a:rPr lang="de-DE" altLang="de-DE" sz="2400" dirty="0"/>
              <a:t>z</a:t>
            </a:r>
            <a:r>
              <a:rPr lang="de-DE" altLang="de-DE" sz="2400" dirty="0" smtClean="0"/>
              <a:t>eitlicher Aufteilung und Sperrung von Systemtrassen</a:t>
            </a:r>
            <a:endParaRPr lang="de-DE" altLang="de-DE" sz="2400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chemeClr val="accent2"/>
          </a:solidFill>
        </p:grpSpPr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dirty="0">
                <a:cs typeface="+mn-cs"/>
              </a:endParaRPr>
            </a:p>
          </p:txBody>
        </p:sp>
        <p:sp>
          <p:nvSpPr>
            <p:cNvPr id="11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dirty="0">
                <a:cs typeface="+mn-cs"/>
              </a:endParaRPr>
            </a:p>
          </p:txBody>
        </p:sp>
      </p:grpSp>
      <p:sp>
        <p:nvSpPr>
          <p:cNvPr id="12" name="TW_Footer_1"/>
          <p:cNvSpPr txBox="1">
            <a:spLocks noChangeArrowheads="1"/>
          </p:cNvSpPr>
          <p:nvPr/>
        </p:nvSpPr>
        <p:spPr bwMode="auto">
          <a:xfrm>
            <a:off x="198438" y="5949950"/>
            <a:ext cx="95027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200" b="1" smtClean="0"/>
              <a:t>DB Netz AG | 11.01.2018</a:t>
            </a:r>
            <a:endParaRPr lang="de-DE" altLang="de-DE" sz="1200" b="1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48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8135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6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976184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90913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Wegesuche erneut durchführ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56740"/>
            <a:ext cx="0" cy="3523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3" name="Tabelle 3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69113320"/>
                  </p:ext>
                </p:extLst>
              </p:nvPr>
            </p:nvGraphicFramePr>
            <p:xfrm>
              <a:off x="3654475" y="2318062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3" name="Tabelle 3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69113320"/>
                  </p:ext>
                </p:extLst>
              </p:nvPr>
            </p:nvGraphicFramePr>
            <p:xfrm>
              <a:off x="3654475" y="2318062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219512" r="-505839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219512" r="-274595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219512" r="-101587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327500" r="-505839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327500" r="-274595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327500" r="-101587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427500" r="-274595" b="-6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427500" r="-101587" b="-6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514634" r="-505839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514634" r="-274595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514634" r="-101587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630000" r="-274595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630000" r="-101587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730000" r="-274595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730000" r="-101587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809756" r="-505839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809756" r="-274595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809756" r="-101587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932500" r="-274595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932500" r="-101587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1007317" r="-274595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1007317" r="-101587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34" name="Gruppieren 33"/>
          <p:cNvGrpSpPr/>
          <p:nvPr/>
        </p:nvGrpSpPr>
        <p:grpSpPr>
          <a:xfrm rot="-5400000">
            <a:off x="4918854" y="383354"/>
            <a:ext cx="666748" cy="3051557"/>
            <a:chOff x="8246488" y="982418"/>
            <a:chExt cx="694698" cy="1727191"/>
          </a:xfrm>
        </p:grpSpPr>
        <p:cxnSp>
          <p:nvCxnSpPr>
            <p:cNvPr id="35" name="Gerade Verbindung mit Pfeil 34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mit Pfeil 38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Textfeld 39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0,0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/>
                <p:cNvSpPr txBox="1"/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lang="de-DE" sz="1200" kern="0" dirty="0" err="1">
                    <a:solidFill>
                      <a:srgbClr val="000000"/>
                    </a:solidFill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3" name="Textfeld 4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7" name="Textfeld 6"/>
          <p:cNvSpPr txBox="1"/>
          <p:nvPr/>
        </p:nvSpPr>
        <p:spPr>
          <a:xfrm>
            <a:off x="4014489" y="2852920"/>
            <a:ext cx="2160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/>
              <a:t>*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4014489" y="3573020"/>
            <a:ext cx="2160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/>
              <a:t>**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656399" y="5106726"/>
            <a:ext cx="450631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dirty="0" smtClean="0"/>
              <a:t>*    für Anfrage r1 lohnt sich der Schnitt </a:t>
            </a:r>
            <a:r>
              <a:rPr lang="de-DE" sz="1100" dirty="0"/>
              <a:t>nach Qualitätskennzahl </a:t>
            </a:r>
            <a:endParaRPr lang="de-DE" sz="1100" dirty="0" smtClean="0"/>
          </a:p>
          <a:p>
            <a:pPr algn="l"/>
            <a:r>
              <a:rPr lang="de-DE" sz="1100" dirty="0" smtClean="0"/>
              <a:t>**  für Anfrage r2 lohnt sich der Schnitt nach Qualitätskennzahl nicht</a:t>
            </a:r>
          </a:p>
        </p:txBody>
      </p: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27" idx="0"/>
          </p:cNvCxnSpPr>
          <p:nvPr/>
        </p:nvCxnSpPr>
        <p:spPr bwMode="auto">
          <a:xfrm>
            <a:off x="1668951" y="2348828"/>
            <a:ext cx="0" cy="11183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45468" y="568084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nicht lösbar</a:t>
            </a:r>
            <a:endParaRPr lang="de-DE" sz="1200" dirty="0"/>
          </a:p>
        </p:txBody>
      </p:sp>
      <p:sp>
        <p:nvSpPr>
          <p:cNvPr id="27" name="Raute 26"/>
          <p:cNvSpPr/>
          <p:nvPr/>
        </p:nvSpPr>
        <p:spPr bwMode="auto">
          <a:xfrm>
            <a:off x="747262" y="3467186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Neue Wege gefunden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1" name="Gerade Verbindung mit Pfeil 30"/>
          <p:cNvCxnSpPr>
            <a:stCxn id="27" idx="2"/>
            <a:endCxn id="45" idx="0"/>
          </p:cNvCxnSpPr>
          <p:nvPr/>
        </p:nvCxnSpPr>
        <p:spPr bwMode="auto">
          <a:xfrm>
            <a:off x="1668951" y="4291458"/>
            <a:ext cx="5304" cy="129020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/>
          <p:cNvSpPr txBox="1"/>
          <p:nvPr/>
        </p:nvSpPr>
        <p:spPr>
          <a:xfrm>
            <a:off x="1701349" y="4540514"/>
            <a:ext cx="2520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</p:spTree>
    <p:extLst>
      <p:ext uri="{BB962C8B-B14F-4D97-AF65-F5344CB8AC3E}">
        <p14:creationId xmlns:p14="http://schemas.microsoft.com/office/powerpoint/2010/main" val="67182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3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7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62476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4064461"/>
            <a:ext cx="0" cy="109674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19240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09450"/>
            <a:ext cx="360046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</a:t>
            </a:r>
            <a:r>
              <a:rPr lang="de-DE" sz="1200" dirty="0"/>
              <a:t>und </a:t>
            </a:r>
            <a:r>
              <a:rPr lang="de-DE" sz="1200" dirty="0" smtClean="0"/>
              <a:t>r</a:t>
            </a:r>
            <a:r>
              <a:rPr lang="de-DE" sz="1200" baseline="-25000" dirty="0" smtClean="0"/>
              <a:t>3 </a:t>
            </a:r>
            <a:r>
              <a:rPr lang="de-DE" sz="1200" dirty="0" smtClean="0"/>
              <a:t>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516120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600900"/>
            <a:ext cx="0" cy="943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5" name="Gruppieren 34"/>
          <p:cNvGrpSpPr/>
          <p:nvPr/>
        </p:nvGrpSpPr>
        <p:grpSpPr>
          <a:xfrm>
            <a:off x="7463093" y="3676453"/>
            <a:ext cx="2295855" cy="2344907"/>
            <a:chOff x="7908370" y="1171328"/>
            <a:chExt cx="1517963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16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Textfeld 59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60" name="Textfeld 5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1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5351924"/>
            <a:ext cx="295232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Systemtrassen s</a:t>
            </a:r>
            <a:r>
              <a:rPr lang="de-DE" sz="1200" baseline="-25000" dirty="0" smtClean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 und s</a:t>
            </a:r>
            <a:r>
              <a:rPr lang="de-DE" sz="1200" baseline="-25000" dirty="0" smtClean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 stehen im Konflikt (kleinstmögliche Konfliktmenge)</a:t>
            </a:r>
            <a:r>
              <a:rPr lang="de-DE" sz="1200" dirty="0" smtClean="0">
                <a:solidFill>
                  <a:srgbClr val="FF0000"/>
                </a:solidFill>
              </a:rPr>
              <a:t/>
            </a:r>
            <a:br>
              <a:rPr lang="de-DE" sz="1200" dirty="0" smtClean="0">
                <a:solidFill>
                  <a:srgbClr val="FF0000"/>
                </a:solidFill>
              </a:rPr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TBD: Aufteilung beider Systemtrassen oder nur von jeweils einer Systemtrasse? (Im Folgenden zunächst nur s</a:t>
            </a:r>
            <a:r>
              <a:rPr lang="de-DE" sz="1200" baseline="-25000" dirty="0" smtClean="0">
                <a:solidFill>
                  <a:srgbClr val="FF0000"/>
                </a:solidFill>
                <a:sym typeface="Wingdings" panose="05000000000000000000" pitchFamily="2" charset="2"/>
              </a:rPr>
              <a:t>2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 aufgeteilt)</a:t>
            </a:r>
            <a:endParaRPr lang="de-DE" sz="1200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42609675"/>
                  </p:ext>
                </p:extLst>
              </p:nvPr>
            </p:nvGraphicFramePr>
            <p:xfrm>
              <a:off x="3654475" y="1628750"/>
              <a:ext cx="5976664" cy="1780351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889929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42609675"/>
                  </p:ext>
                </p:extLst>
              </p:nvPr>
            </p:nvGraphicFramePr>
            <p:xfrm>
              <a:off x="3654475" y="1628750"/>
              <a:ext cx="5976664" cy="1780351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889929"/>
                    <a:gridCol w="711283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225000" r="-495139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225000" r="-273298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225000" r="-101544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317073" r="-495139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317073" r="-273298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317073" r="-101544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427500" r="-273298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427500" r="-101544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527500" r="-495139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527500" r="-273298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527500" r="-101544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612195" r="-495139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612195" r="-273298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612195" r="-101544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sp>
        <p:nvSpPr>
          <p:cNvPr id="25" name="Textfeld 24"/>
          <p:cNvSpPr txBox="1"/>
          <p:nvPr/>
        </p:nvSpPr>
        <p:spPr>
          <a:xfrm>
            <a:off x="6750869" y="5330362"/>
            <a:ext cx="15709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2000" b="1" dirty="0" smtClean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6970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2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8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1255" y="1628750"/>
            <a:ext cx="2808312" cy="51170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Prüfung </a:t>
            </a:r>
            <a:r>
              <a:rPr lang="de-DE" sz="1200" dirty="0" smtClean="0"/>
              <a:t>aller </a:t>
            </a:r>
            <a:r>
              <a:rPr lang="de-DE" sz="1200" dirty="0"/>
              <a:t>Fahrlagenvarianten der Fahrlagen im Makrokonflikt auf </a:t>
            </a:r>
            <a:r>
              <a:rPr lang="de-DE" sz="1200" dirty="0" smtClean="0"/>
              <a:t>Konfliktzeitpunkt </a:t>
            </a:r>
            <a:endParaRPr lang="de-DE" sz="1200" dirty="0"/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>
            <a:off x="1674255" y="1382278"/>
            <a:ext cx="1156" cy="2464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46" idx="0"/>
          </p:cNvCxnSpPr>
          <p:nvPr/>
        </p:nvCxnSpPr>
        <p:spPr bwMode="auto">
          <a:xfrm flipH="1">
            <a:off x="1674255" y="2140455"/>
            <a:ext cx="1156" cy="135176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ElementText1"/>
          <p:cNvSpPr txBox="1">
            <a:spLocks/>
          </p:cNvSpPr>
          <p:nvPr/>
        </p:nvSpPr>
        <p:spPr bwMode="gray">
          <a:xfrm>
            <a:off x="271255" y="2276840"/>
            <a:ext cx="2808312" cy="117173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Paarweiser </a:t>
            </a:r>
            <a:r>
              <a:rPr lang="de-DE" sz="1200" dirty="0"/>
              <a:t>Vergleich aller Fahrlagenvarianten der Fahrlagen im Makrokonflikt, die zu dem Zeitpunkt </a:t>
            </a:r>
            <a:r>
              <a:rPr lang="de-DE" sz="1200" dirty="0" smtClean="0"/>
              <a:t>die betroffene Systemtrasse/ Systemtrassen </a:t>
            </a:r>
            <a:r>
              <a:rPr lang="de-DE" sz="1200" dirty="0"/>
              <a:t>in der Menge der nutzbaren Systemtrassen </a:t>
            </a:r>
            <a:r>
              <a:rPr lang="de-DE" sz="1200" dirty="0" smtClean="0"/>
              <a:t>enthalten  </a:t>
            </a:r>
            <a:endParaRPr lang="de-DE" sz="1200" dirty="0"/>
          </a:p>
        </p:txBody>
      </p: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:</a:t>
            </a:r>
            <a:r>
              <a:rPr lang="de-DE" sz="1200" dirty="0">
                <a:solidFill>
                  <a:schemeClr val="tx1"/>
                </a:solidFill>
              </a:rPr>
              <a:t/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da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2 </a:t>
            </a:r>
            <a:r>
              <a:rPr lang="de-DE" sz="1200" dirty="0" smtClean="0"/>
              <a:t>jeden Tag verfügbar ist,</a:t>
            </a:r>
            <a:r>
              <a:rPr lang="de-DE" sz="1200" dirty="0"/>
              <a:t> </a:t>
            </a:r>
            <a:r>
              <a:rPr lang="de-DE" sz="1200" dirty="0" smtClean="0"/>
              <a:t>ist die Verknüpfung zwischen dem Verkehrstagesschlüssel der Systemtrasse und dem der Anfrage nicht nöti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blipFill rotWithShape="1">
                <a:blip r:embed="rId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blipFill rotWithShape="1">
                <a:blip r:embed="rId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hteck 33"/>
              <p:cNvSpPr/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4" name="Rechteck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smtClea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r="-490"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hteck 36"/>
              <p:cNvSpPr/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smtClea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7" name="Rechteck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9615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zieren 11"/>
          <p:cNvSpPr/>
          <p:nvPr/>
        </p:nvSpPr>
        <p:spPr bwMode="auto">
          <a:xfrm>
            <a:off x="4269861" y="2492870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Multiplizieren 44"/>
          <p:cNvSpPr/>
          <p:nvPr/>
        </p:nvSpPr>
        <p:spPr bwMode="auto">
          <a:xfrm>
            <a:off x="4285425" y="3085854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02653" y="2524234"/>
            <a:ext cx="435660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/>
              <a:t>*s</a:t>
            </a:r>
            <a:r>
              <a:rPr lang="de-DE" sz="1200" baseline="-25000" dirty="0"/>
              <a:t>2 </a:t>
            </a:r>
            <a:r>
              <a:rPr lang="de-DE" sz="1200" dirty="0"/>
              <a:t>nicht in den benutzbaren Systemtrassen</a:t>
            </a:r>
          </a:p>
          <a:p>
            <a:pPr algn="l"/>
            <a:endParaRPr lang="de-DE" sz="1200" dirty="0" smtClean="0"/>
          </a:p>
        </p:txBody>
      </p:sp>
      <p:sp>
        <p:nvSpPr>
          <p:cNvPr id="19" name="Textfeld 18"/>
          <p:cNvSpPr txBox="1"/>
          <p:nvPr/>
        </p:nvSpPr>
        <p:spPr>
          <a:xfrm>
            <a:off x="3550138" y="283818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r</a:t>
            </a:r>
            <a:r>
              <a:rPr lang="de-DE" baseline="-25000" dirty="0"/>
              <a:t>1</a:t>
            </a:r>
            <a:endParaRPr lang="de-DE" dirty="0" smtClean="0"/>
          </a:p>
        </p:txBody>
      </p:sp>
      <p:sp>
        <p:nvSpPr>
          <p:cNvPr id="55" name="Textfeld 54"/>
          <p:cNvSpPr txBox="1"/>
          <p:nvPr/>
        </p:nvSpPr>
        <p:spPr>
          <a:xfrm>
            <a:off x="3550138" y="354537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2</a:t>
            </a:r>
            <a:endParaRPr lang="de-DE" dirty="0" smtClean="0"/>
          </a:p>
        </p:txBody>
      </p:sp>
      <p:sp>
        <p:nvSpPr>
          <p:cNvPr id="57" name="Textfeld 56"/>
          <p:cNvSpPr txBox="1"/>
          <p:nvPr/>
        </p:nvSpPr>
        <p:spPr>
          <a:xfrm>
            <a:off x="3550138" y="3975468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3</a:t>
            </a:r>
            <a:endParaRPr lang="de-DE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Rechteck 59"/>
              <p:cNvSpPr/>
              <p:nvPr/>
            </p:nvSpPr>
            <p:spPr bwMode="auto">
              <a:xfrm>
                <a:off x="6246799" y="36881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,0,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0" name="Rechteck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688188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20"/>
          <p:cNvCxnSpPr>
            <a:stCxn id="35" idx="3"/>
            <a:endCxn id="58" idx="1"/>
          </p:cNvCxnSpPr>
          <p:nvPr/>
        </p:nvCxnSpPr>
        <p:spPr bwMode="auto">
          <a:xfrm>
            <a:off x="5165109" y="2932723"/>
            <a:ext cx="1081690" cy="291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>
            <a:stCxn id="35" idx="3"/>
            <a:endCxn id="59" idx="1"/>
          </p:cNvCxnSpPr>
          <p:nvPr/>
        </p:nvCxnSpPr>
        <p:spPr bwMode="auto">
          <a:xfrm>
            <a:off x="5165109" y="2932723"/>
            <a:ext cx="1081690" cy="5905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24"/>
          <p:cNvCxnSpPr>
            <a:stCxn id="50" idx="3"/>
            <a:endCxn id="58" idx="1"/>
          </p:cNvCxnSpPr>
          <p:nvPr/>
        </p:nvCxnSpPr>
        <p:spPr bwMode="auto">
          <a:xfrm flipV="1">
            <a:off x="5165109" y="3224301"/>
            <a:ext cx="1081690" cy="4441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26"/>
          <p:cNvCxnSpPr>
            <a:stCxn id="50" idx="3"/>
            <a:endCxn id="60" idx="1"/>
          </p:cNvCxnSpPr>
          <p:nvPr/>
        </p:nvCxnSpPr>
        <p:spPr bwMode="auto">
          <a:xfrm>
            <a:off x="5165109" y="3668487"/>
            <a:ext cx="1081690" cy="1663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28"/>
          <p:cNvCxnSpPr>
            <a:stCxn id="34" idx="3"/>
            <a:endCxn id="59" idx="1"/>
          </p:cNvCxnSpPr>
          <p:nvPr/>
        </p:nvCxnSpPr>
        <p:spPr bwMode="auto">
          <a:xfrm flipV="1">
            <a:off x="5165109" y="3523318"/>
            <a:ext cx="1081690" cy="56156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30"/>
          <p:cNvCxnSpPr>
            <a:stCxn id="34" idx="3"/>
            <a:endCxn id="60" idx="1"/>
          </p:cNvCxnSpPr>
          <p:nvPr/>
        </p:nvCxnSpPr>
        <p:spPr bwMode="auto">
          <a:xfrm flipV="1">
            <a:off x="5165109" y="3834806"/>
            <a:ext cx="1081690" cy="2500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Textfeld 66"/>
          <p:cNvSpPr txBox="1"/>
          <p:nvPr/>
        </p:nvSpPr>
        <p:spPr>
          <a:xfrm>
            <a:off x="5598709" y="2852920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hteck 57"/>
              <p:cNvSpPr/>
              <p:nvPr/>
            </p:nvSpPr>
            <p:spPr bwMode="auto">
              <a:xfrm>
                <a:off x="6246799" y="3077683"/>
                <a:ext cx="1222630" cy="293235"/>
              </a:xfrm>
              <a:prstGeom prst="rect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8" name="Rechteck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077683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5769"/>
                </a:stretch>
              </a:blipFill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aute 45"/>
          <p:cNvSpPr/>
          <p:nvPr/>
        </p:nvSpPr>
        <p:spPr bwMode="auto">
          <a:xfrm>
            <a:off x="270099" y="3492224"/>
            <a:ext cx="2808311" cy="1088936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cxnSp>
        <p:nvCxnSpPr>
          <p:cNvPr id="49" name="Gerade Verbindung mit Pfeil 48"/>
          <p:cNvCxnSpPr>
            <a:stCxn id="46" idx="2"/>
            <a:endCxn id="61" idx="0"/>
          </p:cNvCxnSpPr>
          <p:nvPr/>
        </p:nvCxnSpPr>
        <p:spPr bwMode="auto">
          <a:xfrm>
            <a:off x="1674255" y="4581160"/>
            <a:ext cx="1156" cy="1712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1782179" y="4540514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sp>
        <p:nvSpPr>
          <p:cNvPr id="61" name="Abgerundetes Rechteck 60"/>
          <p:cNvSpPr/>
          <p:nvPr/>
        </p:nvSpPr>
        <p:spPr bwMode="auto">
          <a:xfrm>
            <a:off x="271255" y="4752442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Rechteck 61"/>
              <p:cNvSpPr/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1,1,1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2" name="Rechteck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Rechteck 62"/>
              <p:cNvSpPr/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3" name="Rechteck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blipFill rotWithShape="1">
                <a:blip r:embed="rId11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Rechteck 63"/>
              <p:cNvSpPr/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4" name="Rechteck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blipFill rotWithShape="1">
                <a:blip r:embed="rId12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hteck 64"/>
              <p:cNvSpPr/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sub>
                          <m:sup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5" name="Rechteck 6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winkelte Verbindung 21"/>
          <p:cNvCxnSpPr>
            <a:stCxn id="63" idx="1"/>
            <a:endCxn id="64" idx="1"/>
          </p:cNvCxnSpPr>
          <p:nvPr/>
        </p:nvCxnSpPr>
        <p:spPr bwMode="auto">
          <a:xfrm rot="10800000" flipV="1">
            <a:off x="3934729" y="5109206"/>
            <a:ext cx="12700" cy="338671"/>
          </a:xfrm>
          <a:prstGeom prst="bentConnector3">
            <a:avLst>
              <a:gd name="adj1" fmla="val 116703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winkelte Verbindung 65"/>
          <p:cNvCxnSpPr>
            <a:stCxn id="62" idx="1"/>
            <a:endCxn id="65" idx="1"/>
          </p:cNvCxnSpPr>
          <p:nvPr/>
        </p:nvCxnSpPr>
        <p:spPr bwMode="auto">
          <a:xfrm rot="10800000" flipV="1">
            <a:off x="3934729" y="5879937"/>
            <a:ext cx="12700" cy="354177"/>
          </a:xfrm>
          <a:prstGeom prst="bentConnector3">
            <a:avLst>
              <a:gd name="adj1" fmla="val 116703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extfeld 67"/>
          <p:cNvSpPr txBox="1"/>
          <p:nvPr/>
        </p:nvSpPr>
        <p:spPr>
          <a:xfrm>
            <a:off x="3438409" y="5208927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3438409" y="5964693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Rechteck 69"/>
              <p:cNvSpPr/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0" name="Rechteck 6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blipFill rotWithShape="1">
                <a:blip r:embed="rId1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1" name="Rechteck 70"/>
              <p:cNvSpPr/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1" name="Rechteck 7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blipFill rotWithShape="1">
                <a:blip r:embed="rId1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hteck 71"/>
              <p:cNvSpPr/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2" name="Rechteck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blipFill rotWithShape="1">
                <a:blip r:embed="rId16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Rechteck 72"/>
              <p:cNvSpPr/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3" name="Rechteck 7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blipFill rotWithShape="1">
                <a:blip r:embed="rId17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Gerade Verbindung mit Pfeil 39"/>
          <p:cNvCxnSpPr>
            <a:stCxn id="63" idx="3"/>
            <a:endCxn id="71" idx="1"/>
          </p:cNvCxnSpPr>
          <p:nvPr/>
        </p:nvCxnSpPr>
        <p:spPr bwMode="auto">
          <a:xfrm flipV="1">
            <a:off x="5157359" y="5109206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/>
          <p:cNvCxnSpPr>
            <a:stCxn id="63" idx="3"/>
            <a:endCxn id="72" idx="1"/>
          </p:cNvCxnSpPr>
          <p:nvPr/>
        </p:nvCxnSpPr>
        <p:spPr bwMode="auto">
          <a:xfrm>
            <a:off x="5157359" y="5109207"/>
            <a:ext cx="604103" cy="37496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stCxn id="64" idx="3"/>
            <a:endCxn id="70" idx="1"/>
          </p:cNvCxnSpPr>
          <p:nvPr/>
        </p:nvCxnSpPr>
        <p:spPr bwMode="auto">
          <a:xfrm>
            <a:off x="5157359" y="5447878"/>
            <a:ext cx="604103" cy="411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74"/>
          <p:cNvCxnSpPr>
            <a:stCxn id="64" idx="3"/>
            <a:endCxn id="73" idx="1"/>
          </p:cNvCxnSpPr>
          <p:nvPr/>
        </p:nvCxnSpPr>
        <p:spPr bwMode="auto">
          <a:xfrm>
            <a:off x="5157359" y="5447878"/>
            <a:ext cx="604103" cy="7862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/>
          <p:cNvCxnSpPr>
            <a:stCxn id="62" idx="3"/>
            <a:endCxn id="71" idx="1"/>
          </p:cNvCxnSpPr>
          <p:nvPr/>
        </p:nvCxnSpPr>
        <p:spPr bwMode="auto">
          <a:xfrm flipV="1">
            <a:off x="5157359" y="5109206"/>
            <a:ext cx="604103" cy="7707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mit Pfeil 78"/>
          <p:cNvCxnSpPr>
            <a:stCxn id="62" idx="3"/>
            <a:endCxn id="70" idx="1"/>
          </p:cNvCxnSpPr>
          <p:nvPr/>
        </p:nvCxnSpPr>
        <p:spPr bwMode="auto">
          <a:xfrm flipV="1">
            <a:off x="5157359" y="5859144"/>
            <a:ext cx="604103" cy="207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80"/>
          <p:cNvCxnSpPr>
            <a:stCxn id="65" idx="3"/>
            <a:endCxn id="72" idx="1"/>
          </p:cNvCxnSpPr>
          <p:nvPr/>
        </p:nvCxnSpPr>
        <p:spPr bwMode="auto">
          <a:xfrm flipV="1">
            <a:off x="5157359" y="5484175"/>
            <a:ext cx="604103" cy="7499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rade Verbindung mit Pfeil 82"/>
          <p:cNvCxnSpPr>
            <a:stCxn id="65" idx="3"/>
            <a:endCxn id="73" idx="1"/>
          </p:cNvCxnSpPr>
          <p:nvPr/>
        </p:nvCxnSpPr>
        <p:spPr bwMode="auto">
          <a:xfrm flipV="1">
            <a:off x="5157359" y="6234114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feld 87"/>
          <p:cNvSpPr txBox="1"/>
          <p:nvPr/>
        </p:nvSpPr>
        <p:spPr>
          <a:xfrm>
            <a:off x="5310669" y="4900564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Rechteck 91"/>
              <p:cNvSpPr/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2" name="Rechteck 9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Rechteck 92"/>
              <p:cNvSpPr/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3" name="Rechteck 9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4" name="ElementText1"/>
          <p:cNvSpPr txBox="1">
            <a:spLocks/>
          </p:cNvSpPr>
          <p:nvPr/>
        </p:nvSpPr>
        <p:spPr bwMode="gray">
          <a:xfrm>
            <a:off x="271255" y="5391956"/>
            <a:ext cx="2808312" cy="1145474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Paarweiser </a:t>
            </a:r>
            <a:r>
              <a:rPr lang="de-DE" sz="1200" dirty="0"/>
              <a:t>Vergleich </a:t>
            </a:r>
            <a:r>
              <a:rPr lang="de-DE" sz="1200" dirty="0" smtClean="0"/>
              <a:t>der Fahrlagenvarianten und deren negierten Fahrlagenvarianten, für die eine mögliche zeitliche Aufteilung gefunden wurde, führt zur aufgeteilten </a:t>
            </a:r>
            <a:r>
              <a:rPr lang="de-DE" sz="1200" dirty="0" err="1" smtClean="0"/>
              <a:t>konfliktären</a:t>
            </a:r>
            <a:r>
              <a:rPr lang="de-DE" sz="1200" dirty="0" smtClean="0"/>
              <a:t> Systemtrasse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5202654" y="3128429"/>
            <a:ext cx="457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*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Rechteck 58"/>
              <p:cNvSpPr/>
              <p:nvPr/>
            </p:nvSpPr>
            <p:spPr bwMode="auto">
              <a:xfrm>
                <a:off x="6246799" y="3376700"/>
                <a:ext cx="1222630" cy="293235"/>
              </a:xfrm>
              <a:prstGeom prst="rect">
                <a:avLst/>
              </a:prstGeom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9" name="Rechteck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376700"/>
                <a:ext cx="1222630" cy="293235"/>
              </a:xfrm>
              <a:prstGeom prst="rect">
                <a:avLst/>
              </a:prstGeom>
              <a:blipFill rotWithShape="1">
                <a:blip r:embed="rId21"/>
                <a:stretch>
                  <a:fillRect b="-5769"/>
                </a:stretch>
              </a:blipFill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hteck 4"/>
          <p:cNvSpPr/>
          <p:nvPr/>
        </p:nvSpPr>
        <p:spPr bwMode="auto">
          <a:xfrm>
            <a:off x="7686999" y="3722639"/>
            <a:ext cx="2088769" cy="172523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Bei 20 in Konflikt stehenden Fahrlagen und 25 Fahrlagenvarianten pro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effectLst/>
                <a:latin typeface="DB Office" pitchFamily="34" charset="0"/>
              </a:rPr>
              <a:t>Fahrlage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,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ergeben sich ca. 120.000 paarweise Verknüpfungen / Prüfungen (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vgl. Folie 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19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)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  <p:grpSp>
        <p:nvGrpSpPr>
          <p:cNvPr id="76" name="Group 221"/>
          <p:cNvGrpSpPr/>
          <p:nvPr/>
        </p:nvGrpSpPr>
        <p:grpSpPr>
          <a:xfrm>
            <a:off x="9321493" y="4984765"/>
            <a:ext cx="454275" cy="460515"/>
            <a:chOff x="6534800" y="5408613"/>
            <a:chExt cx="992917" cy="1006555"/>
          </a:xfrm>
        </p:grpSpPr>
        <p:sp>
          <p:nvSpPr>
            <p:cNvPr id="78" name="Freeform 222"/>
            <p:cNvSpPr>
              <a:spLocks/>
            </p:cNvSpPr>
            <p:nvPr/>
          </p:nvSpPr>
          <p:spPr bwMode="gray">
            <a:xfrm>
              <a:off x="6534800" y="5408613"/>
              <a:ext cx="992917" cy="1006555"/>
            </a:xfrm>
            <a:custGeom>
              <a:avLst/>
              <a:gdLst>
                <a:gd name="connsiteX0" fmla="*/ 572994 w 992917"/>
                <a:gd name="connsiteY0" fmla="*/ 0 h 1006555"/>
                <a:gd name="connsiteX1" fmla="*/ 628726 w 992917"/>
                <a:gd name="connsiteY1" fmla="*/ 31451 h 1006555"/>
                <a:gd name="connsiteX2" fmla="*/ 629747 w 992917"/>
                <a:gd name="connsiteY2" fmla="*/ 30973 h 1006555"/>
                <a:gd name="connsiteX3" fmla="*/ 992917 w 992917"/>
                <a:gd name="connsiteY3" fmla="*/ 660106 h 1006555"/>
                <a:gd name="connsiteX4" fmla="*/ 992917 w 992917"/>
                <a:gd name="connsiteY4" fmla="*/ 1006555 h 1006555"/>
                <a:gd name="connsiteX5" fmla="*/ 65555 w 992917"/>
                <a:gd name="connsiteY5" fmla="*/ 1006555 h 1006555"/>
                <a:gd name="connsiteX6" fmla="*/ 61913 w 992917"/>
                <a:gd name="connsiteY6" fmla="*/ 1006555 h 1006555"/>
                <a:gd name="connsiteX7" fmla="*/ 61913 w 992917"/>
                <a:gd name="connsiteY7" fmla="*/ 1006188 h 1006555"/>
                <a:gd name="connsiteX8" fmla="*/ 0 w 992917"/>
                <a:gd name="connsiteY8" fmla="*/ 940965 h 1006555"/>
                <a:gd name="connsiteX9" fmla="*/ 19841 w 992917"/>
                <a:gd name="connsiteY9" fmla="*/ 894057 h 1006555"/>
                <a:gd name="connsiteX10" fmla="*/ 512329 w 992917"/>
                <a:gd name="connsiteY10" fmla="*/ 40905 h 1006555"/>
                <a:gd name="connsiteX11" fmla="*/ 572994 w 992917"/>
                <a:gd name="connsiteY11" fmla="*/ 0 h 100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2917" h="1006555">
                  <a:moveTo>
                    <a:pt x="572994" y="0"/>
                  </a:moveTo>
                  <a:cubicBezTo>
                    <a:pt x="596652" y="0"/>
                    <a:pt x="617383" y="12540"/>
                    <a:pt x="628726" y="31451"/>
                  </a:cubicBezTo>
                  <a:lnTo>
                    <a:pt x="629747" y="30973"/>
                  </a:lnTo>
                  <a:lnTo>
                    <a:pt x="992917" y="660106"/>
                  </a:lnTo>
                  <a:lnTo>
                    <a:pt x="992917" y="1006555"/>
                  </a:lnTo>
                  <a:lnTo>
                    <a:pt x="65555" y="1006555"/>
                  </a:lnTo>
                  <a:lnTo>
                    <a:pt x="61913" y="1006555"/>
                  </a:lnTo>
                  <a:lnTo>
                    <a:pt x="61913" y="1006188"/>
                  </a:lnTo>
                  <a:cubicBezTo>
                    <a:pt x="27395" y="1004557"/>
                    <a:pt x="0" y="975962"/>
                    <a:pt x="0" y="940965"/>
                  </a:cubicBezTo>
                  <a:cubicBezTo>
                    <a:pt x="0" y="922555"/>
                    <a:pt x="6670" y="912293"/>
                    <a:pt x="19841" y="894057"/>
                  </a:cubicBezTo>
                  <a:lnTo>
                    <a:pt x="512329" y="40905"/>
                  </a:lnTo>
                  <a:cubicBezTo>
                    <a:pt x="522007" y="16900"/>
                    <a:pt x="545528" y="0"/>
                    <a:pt x="572994" y="0"/>
                  </a:cubicBezTo>
                  <a:close/>
                </a:path>
              </a:pathLst>
            </a:cu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80" name="Group 223"/>
            <p:cNvGrpSpPr/>
            <p:nvPr/>
          </p:nvGrpSpPr>
          <p:grpSpPr>
            <a:xfrm>
              <a:off x="7023117" y="5721909"/>
              <a:ext cx="183069" cy="549041"/>
              <a:chOff x="-724945" y="-2012068"/>
              <a:chExt cx="1268389" cy="3804009"/>
            </a:xfrm>
            <a:solidFill>
              <a:schemeClr val="bg1"/>
            </a:solidFill>
          </p:grpSpPr>
          <p:sp>
            <p:nvSpPr>
              <p:cNvPr id="82" name="Oval 50"/>
              <p:cNvSpPr>
                <a:spLocks/>
              </p:cNvSpPr>
              <p:nvPr/>
            </p:nvSpPr>
            <p:spPr>
              <a:xfrm>
                <a:off x="-724945" y="-2012068"/>
                <a:ext cx="1268389" cy="2864919"/>
              </a:xfrm>
              <a:custGeom>
                <a:avLst/>
                <a:gdLst/>
                <a:ahLst/>
                <a:cxnLst/>
                <a:rect l="l" t="t" r="r" b="b"/>
                <a:pathLst>
                  <a:path w="1268389" h="2864919">
                    <a:moveTo>
                      <a:pt x="633431" y="0"/>
                    </a:moveTo>
                    <a:cubicBezTo>
                      <a:pt x="983265" y="0"/>
                      <a:pt x="1266862" y="283597"/>
                      <a:pt x="1266862" y="633431"/>
                    </a:cubicBezTo>
                    <a:lnTo>
                      <a:pt x="1264094" y="660889"/>
                    </a:lnTo>
                    <a:lnTo>
                      <a:pt x="1268389" y="660889"/>
                    </a:lnTo>
                    <a:lnTo>
                      <a:pt x="634959" y="2864919"/>
                    </a:lnTo>
                    <a:lnTo>
                      <a:pt x="7004" y="679941"/>
                    </a:lnTo>
                    <a:lnTo>
                      <a:pt x="4689" y="679941"/>
                    </a:lnTo>
                    <a:lnTo>
                      <a:pt x="3438" y="667536"/>
                    </a:lnTo>
                    <a:lnTo>
                      <a:pt x="1528" y="660889"/>
                    </a:lnTo>
                    <a:lnTo>
                      <a:pt x="2768" y="660889"/>
                    </a:lnTo>
                    <a:cubicBezTo>
                      <a:pt x="199" y="651930"/>
                      <a:pt x="0" y="642704"/>
                      <a:pt x="0" y="633431"/>
                    </a:cubicBezTo>
                    <a:cubicBezTo>
                      <a:pt x="0" y="283597"/>
                      <a:pt x="283597" y="0"/>
                      <a:pt x="63343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225"/>
              <p:cNvSpPr/>
              <p:nvPr/>
            </p:nvSpPr>
            <p:spPr>
              <a:xfrm>
                <a:off x="-473852" y="1025738"/>
                <a:ext cx="766203" cy="766203"/>
              </a:xfrm>
              <a:prstGeom prst="ellipse">
                <a:avLst/>
              </a:pr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799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0934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9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2995272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844780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/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75759"/>
            <a:ext cx="0" cy="2690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45" idx="0"/>
          </p:cNvCxnSpPr>
          <p:nvPr/>
        </p:nvCxnSpPr>
        <p:spPr bwMode="auto">
          <a:xfrm>
            <a:off x="1668951" y="2428517"/>
            <a:ext cx="5304" cy="31531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ElementText1"/>
          <p:cNvSpPr txBox="1">
            <a:spLocks/>
          </p:cNvSpPr>
          <p:nvPr/>
        </p:nvSpPr>
        <p:spPr bwMode="gray">
          <a:xfrm>
            <a:off x="274461" y="2615398"/>
            <a:ext cx="2808312" cy="741592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rsetze in den nutzbaren Systemtrassen aller Fahrlagenvarianten die Betroffene durch die neu ermittelte Aufteilung 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93058038"/>
                  </p:ext>
                </p:extLst>
              </p:nvPr>
            </p:nvGraphicFramePr>
            <p:xfrm>
              <a:off x="3741142" y="2708900"/>
              <a:ext cx="4939210" cy="272016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304529"/>
                    <a:gridCol w="92134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>
                              <a:solidFill>
                                <a:srgbClr val="000066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rgbClr val="000066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rgbClr val="004BB4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93058038"/>
                  </p:ext>
                </p:extLst>
              </p:nvPr>
            </p:nvGraphicFramePr>
            <p:xfrm>
              <a:off x="3741142" y="2708900"/>
              <a:ext cx="4939210" cy="272016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304529"/>
                    <a:gridCol w="92134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07500" r="-401460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07500" r="-197297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207500" r="-70561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00000" r="-401460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00000" r="-197297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300000" r="-70561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300000" b="-697561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10000" r="-197297" b="-6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410000" r="-70561" b="-6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497561" r="-401460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97561" r="-197297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497561" r="-70561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497561" b="-500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12500" r="-197297" b="-4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612500" r="-70561" b="-4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12500" r="-197297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712500" r="-70561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792683" r="-401460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92683" r="-197297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792683" r="-70561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792683" b="-204878"/>
                          </a:stretch>
                        </a:blipFill>
                      </a:tcPr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15000" r="-197297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915000" r="-70561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90244" r="-197297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990244" r="-70561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48" name="Gruppieren 47"/>
          <p:cNvGrpSpPr/>
          <p:nvPr/>
        </p:nvGrpSpPr>
        <p:grpSpPr>
          <a:xfrm rot="-5400000">
            <a:off x="5299228" y="783445"/>
            <a:ext cx="482083" cy="3051557"/>
            <a:chOff x="8246488" y="982418"/>
            <a:chExt cx="502292" cy="1727191"/>
          </a:xfrm>
        </p:grpSpPr>
        <p:cxnSp>
          <p:nvCxnSpPr>
            <p:cNvPr id="49" name="Gerade Verbindung mit Pfeil 4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mit Pfeil 5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Textfeld 52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feld 54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0,0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5" name="Textfeld 5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7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45468" y="568084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nicht lösbar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blipFill rotWithShape="1">
                <a:blip r:embed="rId6"/>
                <a:stretch>
                  <a:fillRect l="-1639" t="-8791" r="-7104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10593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9739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0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62476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4064461"/>
            <a:ext cx="0" cy="109674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19240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09450"/>
            <a:ext cx="360046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</a:t>
            </a:r>
            <a:r>
              <a:rPr lang="de-DE" sz="1200" dirty="0"/>
              <a:t>und </a:t>
            </a:r>
            <a:r>
              <a:rPr lang="de-DE" sz="1200" dirty="0" smtClean="0"/>
              <a:t>r</a:t>
            </a:r>
            <a:r>
              <a:rPr lang="de-DE" sz="1200" baseline="-25000" dirty="0" smtClean="0"/>
              <a:t>3 </a:t>
            </a:r>
            <a:r>
              <a:rPr lang="de-DE" sz="1200" dirty="0" smtClean="0"/>
              <a:t>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516120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600900"/>
            <a:ext cx="0" cy="943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5" name="Gruppieren 34"/>
          <p:cNvGrpSpPr/>
          <p:nvPr/>
        </p:nvGrpSpPr>
        <p:grpSpPr>
          <a:xfrm>
            <a:off x="7463089" y="3676453"/>
            <a:ext cx="1427610" cy="2344907"/>
            <a:chOff x="7908370" y="1171328"/>
            <a:chExt cx="943901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16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ElementText1"/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3654475" y="5229250"/>
                <a:ext cx="3253488" cy="15180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 algn="l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chemeClr val="tx1"/>
                    </a:solidFill>
                  </a:rPr>
                  <a:t>Systemtrassen s</a:t>
                </a:r>
                <a:r>
                  <a:rPr lang="de-DE" sz="1200" baseline="-25000" dirty="0" smtClean="0">
                    <a:solidFill>
                      <a:schemeClr val="tx1"/>
                    </a:solidFill>
                  </a:rPr>
                  <a:t>1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 &amp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&amp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b="1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stehen im Konflikt (wir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>
                    <a:solidFill>
                      <a:schemeClr val="tx1"/>
                    </a:solidFill>
                  </a:rPr>
                  <a:t>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ode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b="1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>
                    <a:solidFill>
                      <a:schemeClr val="tx1"/>
                    </a:solidFill>
                  </a:rPr>
                  <a:t>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aus Konfliktmenge genommen, ist Konflikt lösbar)</a:t>
                </a:r>
                <a:r>
                  <a:rPr lang="de-DE" sz="1200" dirty="0" smtClean="0">
                    <a:solidFill>
                      <a:srgbClr val="FF0000"/>
                    </a:solidFill>
                  </a:rPr>
                  <a:t/>
                </a:r>
                <a:br>
                  <a:rPr lang="de-DE" sz="1200" dirty="0" smtClean="0">
                    <a:solidFill>
                      <a:srgbClr val="FF0000"/>
                    </a:solidFill>
                  </a:rPr>
                </a:b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 TBD: Aufteilung 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aller </a:t>
                </a: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Systemtrassen oder nur von jeweils einer Systemtrasse? (Im Folgenden zunächst nur 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de-DE" sz="1200" baseline="-250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1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 </a:t>
                </a: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aufgeteilt)</a:t>
                </a:r>
                <a:endParaRPr lang="de-DE" sz="1200" dirty="0">
                  <a:solidFill>
                    <a:srgbClr val="FF0000"/>
                  </a:solidFill>
                </a:endParaRPr>
              </a:p>
              <a:p>
                <a:pPr marL="0" lvl="1" indent="0" algn="l">
                  <a:spcBef>
                    <a:spcPts val="300"/>
                  </a:spcBef>
                  <a:buNone/>
                </a:pPr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1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3654475" y="5229250"/>
                <a:ext cx="3253488" cy="151802"/>
              </a:xfrm>
              <a:prstGeom prst="rect">
                <a:avLst/>
              </a:prstGeom>
              <a:blipFill rotWithShape="1">
                <a:blip r:embed="rId6"/>
                <a:stretch>
                  <a:fillRect l="-2060" t="-36000" r="-936" b="-67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59742373"/>
                  </p:ext>
                </p:extLst>
              </p:nvPr>
            </p:nvGraphicFramePr>
            <p:xfrm>
              <a:off x="3654475" y="1628750"/>
              <a:ext cx="5086735" cy="18851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59742373"/>
                  </p:ext>
                </p:extLst>
              </p:nvPr>
            </p:nvGraphicFramePr>
            <p:xfrm>
              <a:off x="3654475" y="1628750"/>
              <a:ext cx="5086735" cy="18851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207500" r="-393750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207500" r="-196859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207500" r="-45174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307500" r="-393750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307500" r="-196859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307500" r="-45174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307500" b="-375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407500" r="-196859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407500" r="-45174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312308" r="-393750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312308" r="-196859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312308" r="-45174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312308" b="-69231"/>
                          </a:stretch>
                        </a:blipFill>
                      </a:tcPr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653659" r="-393750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653659" r="-196859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653659" r="-45174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653659" b="-975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8732978" y="4528119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2978" y="4528119"/>
                <a:ext cx="1114321" cy="553998"/>
              </a:xfrm>
              <a:prstGeom prst="rect">
                <a:avLst/>
              </a:prstGeom>
              <a:blipFill rotWithShape="1">
                <a:blip r:embed="rId8"/>
                <a:stretch>
                  <a:fillRect l="-2198" t="-9890" r="-7143" b="-1428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feld 4"/>
          <p:cNvSpPr txBox="1"/>
          <p:nvPr/>
        </p:nvSpPr>
        <p:spPr>
          <a:xfrm>
            <a:off x="6953825" y="5330362"/>
            <a:ext cx="15709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2000" b="1" dirty="0" smtClean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16656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44140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1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1700760"/>
            <a:ext cx="2808312" cy="57608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Prüfung </a:t>
            </a:r>
            <a:r>
              <a:rPr lang="de-DE" sz="1200" dirty="0" smtClean="0"/>
              <a:t>aller </a:t>
            </a:r>
            <a:r>
              <a:rPr lang="de-DE" sz="1200" dirty="0"/>
              <a:t>Fahrlagenvarianten der Fahrlagen im Makrokonflikt auf Konfliktzeitpunkt </a:t>
            </a:r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 flipH="1">
            <a:off x="1674255" y="1556740"/>
            <a:ext cx="324" cy="1440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46" idx="0"/>
          </p:cNvCxnSpPr>
          <p:nvPr/>
        </p:nvCxnSpPr>
        <p:spPr bwMode="auto">
          <a:xfrm>
            <a:off x="1674255" y="2276840"/>
            <a:ext cx="0" cy="7201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:</a:t>
            </a:r>
            <a:r>
              <a:rPr lang="de-DE" sz="1200" dirty="0">
                <a:solidFill>
                  <a:schemeClr val="tx1"/>
                </a:solidFill>
              </a:rPr>
              <a:t/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da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1 </a:t>
            </a:r>
            <a:r>
              <a:rPr lang="de-DE" sz="1200" dirty="0" smtClean="0"/>
              <a:t>jeden Tag verfügbar ist,</a:t>
            </a:r>
            <a:r>
              <a:rPr lang="de-DE" sz="1200" dirty="0"/>
              <a:t> </a:t>
            </a:r>
            <a:r>
              <a:rPr lang="de-DE" sz="1200" dirty="0" smtClean="0"/>
              <a:t>ist die Verknüpfung zwischen dem Verkehrstagesschlüssel der Systemtrasse und dem der Anfrage nicht nöti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blipFill rotWithShape="1">
                <a:blip r:embed="rId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blipFill rotWithShape="1">
                <a:blip r:embed="rId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hteck 33"/>
              <p:cNvSpPr/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4" name="Rechteck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r="-490"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hteck 36"/>
              <p:cNvSpPr/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7" name="Rechteck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9615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zieren 11"/>
          <p:cNvSpPr/>
          <p:nvPr/>
        </p:nvSpPr>
        <p:spPr bwMode="auto">
          <a:xfrm>
            <a:off x="4285425" y="2791171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Multiplizieren 44"/>
          <p:cNvSpPr/>
          <p:nvPr/>
        </p:nvSpPr>
        <p:spPr bwMode="auto">
          <a:xfrm>
            <a:off x="4285425" y="3939252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192383" y="3942996"/>
            <a:ext cx="1180394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50" dirty="0" smtClean="0"/>
              <a:t>*s</a:t>
            </a:r>
            <a:r>
              <a:rPr lang="de-DE" sz="1050" baseline="-25000" dirty="0" smtClean="0"/>
              <a:t>1 </a:t>
            </a:r>
            <a:r>
              <a:rPr lang="de-DE" sz="1050" dirty="0" smtClean="0"/>
              <a:t>nicht in den benutzbaren Systemtrassen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3550138" y="283818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r</a:t>
            </a:r>
            <a:r>
              <a:rPr lang="de-DE" baseline="-25000" dirty="0"/>
              <a:t>1</a:t>
            </a:r>
            <a:endParaRPr lang="de-DE" dirty="0" smtClean="0"/>
          </a:p>
        </p:txBody>
      </p:sp>
      <p:sp>
        <p:nvSpPr>
          <p:cNvPr id="55" name="Textfeld 54"/>
          <p:cNvSpPr txBox="1"/>
          <p:nvPr/>
        </p:nvSpPr>
        <p:spPr>
          <a:xfrm>
            <a:off x="3550138" y="354537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2</a:t>
            </a:r>
            <a:endParaRPr lang="de-DE" dirty="0" smtClean="0"/>
          </a:p>
        </p:txBody>
      </p:sp>
      <p:sp>
        <p:nvSpPr>
          <p:cNvPr id="57" name="Textfeld 56"/>
          <p:cNvSpPr txBox="1"/>
          <p:nvPr/>
        </p:nvSpPr>
        <p:spPr>
          <a:xfrm>
            <a:off x="3550138" y="3975468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3</a:t>
            </a:r>
            <a:endParaRPr lang="de-DE" dirty="0" smtClean="0"/>
          </a:p>
        </p:txBody>
      </p:sp>
      <p:sp>
        <p:nvSpPr>
          <p:cNvPr id="67" name="Textfeld 66"/>
          <p:cNvSpPr txBox="1"/>
          <p:nvPr/>
        </p:nvSpPr>
        <p:spPr>
          <a:xfrm>
            <a:off x="5459410" y="2552349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hteck 57"/>
              <p:cNvSpPr/>
              <p:nvPr/>
            </p:nvSpPr>
            <p:spPr bwMode="auto">
              <a:xfrm>
                <a:off x="6002178" y="2814678"/>
                <a:ext cx="1222630" cy="293235"/>
              </a:xfrm>
              <a:prstGeom prst="rect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8" name="Rechteck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002178" y="2814678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5769"/>
                </a:stretch>
              </a:blipFill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aute 45"/>
          <p:cNvSpPr/>
          <p:nvPr/>
        </p:nvSpPr>
        <p:spPr bwMode="auto">
          <a:xfrm>
            <a:off x="270099" y="2996940"/>
            <a:ext cx="2808311" cy="15443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cxnSp>
        <p:nvCxnSpPr>
          <p:cNvPr id="49" name="Gerade Verbindung mit Pfeil 48"/>
          <p:cNvCxnSpPr>
            <a:stCxn id="46" idx="2"/>
          </p:cNvCxnSpPr>
          <p:nvPr/>
        </p:nvCxnSpPr>
        <p:spPr bwMode="auto">
          <a:xfrm>
            <a:off x="1674255" y="4541312"/>
            <a:ext cx="1156" cy="38031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1710169" y="4581160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sp>
        <p:nvSpPr>
          <p:cNvPr id="61" name="Abgerundetes Rechteck 60"/>
          <p:cNvSpPr/>
          <p:nvPr/>
        </p:nvSpPr>
        <p:spPr bwMode="auto">
          <a:xfrm>
            <a:off x="271255" y="4932806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Rechteck 61"/>
              <p:cNvSpPr/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2" name="Rechteck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Rechteck 62"/>
              <p:cNvSpPr/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3" name="Rechteck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Rechteck 63"/>
              <p:cNvSpPr/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  <m:sup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4" name="Rechteck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blipFill rotWithShape="1">
                <a:blip r:embed="rId11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hteck 64"/>
              <p:cNvSpPr/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sub>
                          <m:sup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5" name="Rechteck 6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blipFill rotWithShape="1">
                <a:blip r:embed="rId12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winkelte Verbindung 21"/>
          <p:cNvCxnSpPr>
            <a:stCxn id="63" idx="1"/>
            <a:endCxn id="64" idx="1"/>
          </p:cNvCxnSpPr>
          <p:nvPr/>
        </p:nvCxnSpPr>
        <p:spPr bwMode="auto">
          <a:xfrm rot="10800000" flipV="1">
            <a:off x="3934729" y="5109206"/>
            <a:ext cx="12700" cy="338671"/>
          </a:xfrm>
          <a:prstGeom prst="bentConnector3">
            <a:avLst>
              <a:gd name="adj1" fmla="val 116703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winkelte Verbindung 65"/>
          <p:cNvCxnSpPr>
            <a:stCxn id="62" idx="1"/>
            <a:endCxn id="65" idx="1"/>
          </p:cNvCxnSpPr>
          <p:nvPr/>
        </p:nvCxnSpPr>
        <p:spPr bwMode="auto">
          <a:xfrm rot="10800000" flipV="1">
            <a:off x="3934729" y="5879937"/>
            <a:ext cx="12700" cy="354177"/>
          </a:xfrm>
          <a:prstGeom prst="bentConnector3">
            <a:avLst>
              <a:gd name="adj1" fmla="val 116703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extfeld 67"/>
          <p:cNvSpPr txBox="1"/>
          <p:nvPr/>
        </p:nvSpPr>
        <p:spPr>
          <a:xfrm>
            <a:off x="3438409" y="5208927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3438409" y="5964693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Rechteck 69"/>
              <p:cNvSpPr/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0" name="Rechteck 6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1" name="Rechteck 70"/>
              <p:cNvSpPr/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1" name="Rechteck 7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blipFill rotWithShape="1">
                <a:blip r:embed="rId1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hteck 71"/>
              <p:cNvSpPr/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2" name="Rechteck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blipFill rotWithShape="1">
                <a:blip r:embed="rId15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Rechteck 72"/>
              <p:cNvSpPr/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3" name="Rechteck 7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blipFill rotWithShape="1">
                <a:blip r:embed="rId16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Gerade Verbindung mit Pfeil 39"/>
          <p:cNvCxnSpPr>
            <a:stCxn id="63" idx="3"/>
            <a:endCxn id="71" idx="1"/>
          </p:cNvCxnSpPr>
          <p:nvPr/>
        </p:nvCxnSpPr>
        <p:spPr bwMode="auto">
          <a:xfrm flipV="1">
            <a:off x="5157359" y="5109206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/>
          <p:cNvCxnSpPr>
            <a:stCxn id="63" idx="3"/>
            <a:endCxn id="72" idx="1"/>
          </p:cNvCxnSpPr>
          <p:nvPr/>
        </p:nvCxnSpPr>
        <p:spPr bwMode="auto">
          <a:xfrm>
            <a:off x="5157359" y="5109207"/>
            <a:ext cx="604103" cy="37496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stCxn id="64" idx="3"/>
            <a:endCxn id="70" idx="1"/>
          </p:cNvCxnSpPr>
          <p:nvPr/>
        </p:nvCxnSpPr>
        <p:spPr bwMode="auto">
          <a:xfrm>
            <a:off x="5157359" y="5447878"/>
            <a:ext cx="604103" cy="411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74"/>
          <p:cNvCxnSpPr>
            <a:stCxn id="64" idx="3"/>
            <a:endCxn id="73" idx="1"/>
          </p:cNvCxnSpPr>
          <p:nvPr/>
        </p:nvCxnSpPr>
        <p:spPr bwMode="auto">
          <a:xfrm>
            <a:off x="5157359" y="5447878"/>
            <a:ext cx="604103" cy="7862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/>
          <p:cNvCxnSpPr>
            <a:stCxn id="62" idx="3"/>
            <a:endCxn id="71" idx="1"/>
          </p:cNvCxnSpPr>
          <p:nvPr/>
        </p:nvCxnSpPr>
        <p:spPr bwMode="auto">
          <a:xfrm flipV="1">
            <a:off x="5157359" y="5109206"/>
            <a:ext cx="604103" cy="7707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mit Pfeil 78"/>
          <p:cNvCxnSpPr>
            <a:stCxn id="62" idx="3"/>
            <a:endCxn id="70" idx="1"/>
          </p:cNvCxnSpPr>
          <p:nvPr/>
        </p:nvCxnSpPr>
        <p:spPr bwMode="auto">
          <a:xfrm flipV="1">
            <a:off x="5157359" y="5859144"/>
            <a:ext cx="604103" cy="207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80"/>
          <p:cNvCxnSpPr>
            <a:stCxn id="65" idx="3"/>
            <a:endCxn id="72" idx="1"/>
          </p:cNvCxnSpPr>
          <p:nvPr/>
        </p:nvCxnSpPr>
        <p:spPr bwMode="auto">
          <a:xfrm flipV="1">
            <a:off x="5157359" y="5484175"/>
            <a:ext cx="604103" cy="7499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rade Verbindung mit Pfeil 82"/>
          <p:cNvCxnSpPr>
            <a:stCxn id="65" idx="3"/>
            <a:endCxn id="73" idx="1"/>
          </p:cNvCxnSpPr>
          <p:nvPr/>
        </p:nvCxnSpPr>
        <p:spPr bwMode="auto">
          <a:xfrm flipV="1">
            <a:off x="5157359" y="6234114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feld 87"/>
          <p:cNvSpPr txBox="1"/>
          <p:nvPr/>
        </p:nvSpPr>
        <p:spPr>
          <a:xfrm>
            <a:off x="5310669" y="4900564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Rechteck 91"/>
              <p:cNvSpPr/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2" name="Rechteck 9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Rechteck 92"/>
              <p:cNvSpPr/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3" name="Rechteck 9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6"/>
          <p:cNvCxnSpPr>
            <a:stCxn id="44" idx="3"/>
            <a:endCxn id="58" idx="1"/>
          </p:cNvCxnSpPr>
          <p:nvPr/>
        </p:nvCxnSpPr>
        <p:spPr bwMode="auto">
          <a:xfrm>
            <a:off x="5165109" y="2644683"/>
            <a:ext cx="837069" cy="3166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>
            <a:stCxn id="37" idx="3"/>
            <a:endCxn id="59" idx="1"/>
          </p:cNvCxnSpPr>
          <p:nvPr/>
        </p:nvCxnSpPr>
        <p:spPr bwMode="auto">
          <a:xfrm>
            <a:off x="5165109" y="3220763"/>
            <a:ext cx="837069" cy="2108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13"/>
          <p:cNvCxnSpPr>
            <a:stCxn id="50" idx="3"/>
            <a:endCxn id="59" idx="1"/>
          </p:cNvCxnSpPr>
          <p:nvPr/>
        </p:nvCxnSpPr>
        <p:spPr bwMode="auto">
          <a:xfrm flipV="1">
            <a:off x="5165109" y="3431598"/>
            <a:ext cx="837069" cy="23688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>
            <a:stCxn id="50" idx="3"/>
            <a:endCxn id="58" idx="1"/>
          </p:cNvCxnSpPr>
          <p:nvPr/>
        </p:nvCxnSpPr>
        <p:spPr bwMode="auto">
          <a:xfrm flipV="1">
            <a:off x="5165109" y="2961296"/>
            <a:ext cx="837069" cy="7071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Rechteck 58"/>
              <p:cNvSpPr/>
              <p:nvPr/>
            </p:nvSpPr>
            <p:spPr bwMode="auto">
              <a:xfrm>
                <a:off x="6002178" y="3284980"/>
                <a:ext cx="1222630" cy="293235"/>
              </a:xfrm>
              <a:prstGeom prst="rect">
                <a:avLst/>
              </a:prstGeom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9" name="Rechteck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002178" y="3284980"/>
                <a:ext cx="1222630" cy="293235"/>
              </a:xfrm>
              <a:prstGeom prst="rect">
                <a:avLst/>
              </a:prstGeom>
              <a:blipFill rotWithShape="1">
                <a:blip r:embed="rId20"/>
                <a:stretch>
                  <a:fillRect b="-5769"/>
                </a:stretch>
              </a:blipFill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1" name="Gerade Verbindung mit Pfeil 90"/>
          <p:cNvCxnSpPr>
            <a:stCxn id="61" idx="2"/>
          </p:cNvCxnSpPr>
          <p:nvPr/>
        </p:nvCxnSpPr>
        <p:spPr bwMode="auto">
          <a:xfrm>
            <a:off x="1675411" y="5501350"/>
            <a:ext cx="0" cy="7360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Textfeld 73"/>
          <p:cNvSpPr txBox="1"/>
          <p:nvPr/>
        </p:nvSpPr>
        <p:spPr>
          <a:xfrm>
            <a:off x="5197342" y="2811818"/>
            <a:ext cx="18533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50" dirty="0" smtClean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9487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9738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2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2995272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844780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/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75759"/>
            <a:ext cx="0" cy="2690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45" idx="0"/>
          </p:cNvCxnSpPr>
          <p:nvPr/>
        </p:nvCxnSpPr>
        <p:spPr bwMode="auto">
          <a:xfrm>
            <a:off x="1668951" y="2428517"/>
            <a:ext cx="5304" cy="31531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ElementText1"/>
          <p:cNvSpPr txBox="1">
            <a:spLocks/>
          </p:cNvSpPr>
          <p:nvPr/>
        </p:nvSpPr>
        <p:spPr bwMode="gray">
          <a:xfrm>
            <a:off x="274461" y="2615398"/>
            <a:ext cx="2808312" cy="741592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rsetze in den nutzbaren Systemtrassen aller Fahrlagenvarianten die Betroffene durch die neu ermittelte Aufteilung 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72914865"/>
                  </p:ext>
                </p:extLst>
              </p:nvPr>
            </p:nvGraphicFramePr>
            <p:xfrm>
              <a:off x="3741142" y="2941150"/>
              <a:ext cx="4939210" cy="2869575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448549"/>
                    <a:gridCol w="77732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,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72914865"/>
                  </p:ext>
                </p:extLst>
              </p:nvPr>
            </p:nvGraphicFramePr>
            <p:xfrm>
              <a:off x="3741142" y="2941150"/>
              <a:ext cx="4939210" cy="2869575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448549"/>
                    <a:gridCol w="77732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07500" r="-401460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07500" r="-197297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207500" r="-53361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207500" b="-880000"/>
                          </a:stretch>
                        </a:blipFill>
                      </a:tcPr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07500" r="-401460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07500" r="-197297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07500" r="-53361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07500" b="-780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97561" r="-197297" b="-66097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97561" r="-53361" b="-66097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97561" b="-660976"/>
                          </a:stretch>
                        </a:blipFill>
                      </a:tcPr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13846" r="-401460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13846" r="-197297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13846" r="-53361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13846" b="-316923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72500" r="-197297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672500" r="-53361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72500" r="-197297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772500" r="-53361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851220" r="-401460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851220" r="-197297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851220" r="-53361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851220" b="-207317"/>
                          </a:stretch>
                        </a:blipFill>
                      </a:tcPr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51220" r="-197297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951220" r="-53361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1077500" r="-197297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1077500" r="-53361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48" name="Gruppieren 47"/>
          <p:cNvGrpSpPr/>
          <p:nvPr/>
        </p:nvGrpSpPr>
        <p:grpSpPr>
          <a:xfrm rot="-5400000">
            <a:off x="5135674" y="947004"/>
            <a:ext cx="809197" cy="3051557"/>
            <a:chOff x="7905661" y="982418"/>
            <a:chExt cx="843119" cy="1727191"/>
          </a:xfrm>
        </p:grpSpPr>
        <p:cxnSp>
          <p:nvCxnSpPr>
            <p:cNvPr id="49" name="Gerade Verbindung mit Pfeil 4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mit Pfeil 5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Textfeld 52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feld 54"/>
                <p:cNvSpPr txBox="1"/>
                <p:nvPr/>
              </p:nvSpPr>
              <p:spPr>
                <a:xfrm rot="5400000">
                  <a:off x="7837402" y="1594039"/>
                  <a:ext cx="713739" cy="577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</m:ctrlPr>
                        </m:sSubSupPr>
                        <m:e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0,0,0,1,1,1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de-DE" sz="1200" dirty="0"/>
                          <m:t>(</m:t>
                        </m:r>
                        <m:r>
                          <a:rPr lang="de-DE" sz="1200" kern="0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,1,1,1,0,0,0</m:t>
                        </m:r>
                        <m:r>
                          <m:rPr>
                            <m:nor/>
                          </m:rPr>
                          <a:rPr lang="de-DE" sz="1200" dirty="0"/>
                          <m:t>)</m:t>
                        </m:r>
                      </m:oMath>
                    </m:oMathPara>
                  </a14:m>
                  <a:endParaRPr lang="de-DE" sz="1200" dirty="0"/>
                </a:p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0,0,0,0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5" name="Textfeld 5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837402" y="1594039"/>
                  <a:ext cx="713739" cy="57722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t="-8791" r="-483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7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12017" y="591857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lösbar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blipFill rotWithShape="1">
                <a:blip r:embed="rId6"/>
                <a:stretch>
                  <a:fillRect l="-1639" t="-8791" r="-7104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365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2538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3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564880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Lösung ausgeb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864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/>
        </p:nvGrpSpPr>
        <p:grpSpPr>
          <a:xfrm>
            <a:off x="4985783" y="4014421"/>
            <a:ext cx="2781777" cy="2344907"/>
            <a:chOff x="7065522" y="3676453"/>
            <a:chExt cx="2781777" cy="2344907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7801584" y="3676453"/>
              <a:ext cx="1089121" cy="2344907"/>
              <a:chOff x="8132171" y="1171328"/>
              <a:chExt cx="720100" cy="1385525"/>
            </a:xfrm>
          </p:grpSpPr>
          <p:cxnSp>
            <p:nvCxnSpPr>
              <p:cNvPr id="37" name="Gerade Verbindung mit Pfeil 36"/>
              <p:cNvCxnSpPr/>
              <p:nvPr/>
            </p:nvCxnSpPr>
            <p:spPr bwMode="auto">
              <a:xfrm>
                <a:off x="8479109" y="1299096"/>
                <a:ext cx="0" cy="1130115"/>
              </a:xfrm>
              <a:prstGeom prst="straightConnector1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/>
            </p:nvCxnSpPr>
            <p:spPr bwMode="auto">
              <a:xfrm>
                <a:off x="8479109" y="1299096"/>
                <a:ext cx="241465" cy="539121"/>
              </a:xfrm>
              <a:prstGeom prst="line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5" name="Gerade Verbindung mit Pfeil 54"/>
              <p:cNvCxnSpPr/>
              <p:nvPr/>
            </p:nvCxnSpPr>
            <p:spPr bwMode="auto">
              <a:xfrm flipH="1">
                <a:off x="8492221" y="1838217"/>
                <a:ext cx="228353" cy="590994"/>
              </a:xfrm>
              <a:prstGeom prst="straightConnector1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57" name="Textfeld 56"/>
              <p:cNvSpPr txBox="1"/>
              <p:nvPr/>
            </p:nvSpPr>
            <p:spPr>
              <a:xfrm>
                <a:off x="8132171" y="1171328"/>
                <a:ext cx="720100" cy="109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Quelle (Q)</a:t>
                </a:r>
              </a:p>
            </p:txBody>
          </p:sp>
          <p:sp>
            <p:nvSpPr>
              <p:cNvPr id="58" name="Textfeld 57"/>
              <p:cNvSpPr txBox="1"/>
              <p:nvPr/>
            </p:nvSpPr>
            <p:spPr>
              <a:xfrm>
                <a:off x="8132171" y="2447740"/>
                <a:ext cx="720100" cy="109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Senke (S)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8732978" y="4528119"/>
                  <a:ext cx="1114321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1,1,0,0,0,0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>
                    <a:defRPr/>
                  </a:pPr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  <m:r>
                        <m:rPr>
                          <m:nor/>
                        </m:rPr>
                        <a:rPr lang="de-DE" sz="1200" dirty="0"/>
                        <m:t>(</m:t>
                      </m:r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1,1,1,0</m:t>
                      </m:r>
                      <m:r>
                        <m:rPr>
                          <m:nor/>
                        </m:rPr>
                        <a:rPr lang="de-DE" sz="1200" dirty="0"/>
                        <m:t>)</m:t>
                      </m:r>
                    </m:oMath>
                  </a14:m>
                  <a:endParaRPr lang="de-DE" sz="1200" dirty="0"/>
                </a:p>
                <a:p>
                  <a:pPr>
                    <a:defRPr/>
                  </a:pP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 dirty="0">
                          <a:solidFill>
                            <a:srgbClr val="000000"/>
                          </a:solidFill>
                          <a:latin typeface="Cambria Math"/>
                        </a:rPr>
                        <m:t>0</m:t>
                      </m:r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,0,0,0,0,0,1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32978" y="4528119"/>
                  <a:ext cx="1114321" cy="553998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1639" t="-8791" r="-7104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7065522" y="4528118"/>
                  <a:ext cx="1261016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</m:ctrlPr>
                        </m:sSubSupPr>
                        <m:e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0,0,0,1,1,1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de-DE" sz="1200" dirty="0"/>
                          <m:t>(</m:t>
                        </m:r>
                        <m:r>
                          <a:rPr lang="de-DE" sz="1200" kern="0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,1,1,1,0,0,0</m:t>
                        </m:r>
                        <m:r>
                          <m:rPr>
                            <m:nor/>
                          </m:rPr>
                          <a:rPr lang="de-DE" sz="1200" dirty="0"/>
                          <m:t>)</m:t>
                        </m:r>
                      </m:oMath>
                    </m:oMathPara>
                  </a14:m>
                  <a:endParaRPr lang="de-DE" sz="1200" dirty="0"/>
                </a:p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0,0,0,0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65522" y="4528118"/>
                  <a:ext cx="1261016" cy="553998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t="-8791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el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91965712"/>
                  </p:ext>
                </p:extLst>
              </p:nvPr>
            </p:nvGraphicFramePr>
            <p:xfrm>
              <a:off x="3807553" y="1959416"/>
              <a:ext cx="5482586" cy="1929766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3175"/>
                    <a:gridCol w="965971"/>
                    <a:gridCol w="883149"/>
                    <a:gridCol w="1389267"/>
                    <a:gridCol w="745512"/>
                    <a:gridCol w="745512"/>
                  </a:tblGrid>
                  <a:tr h="545837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ausgewählte</a:t>
                          </a:r>
                        </a:p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 (Lösung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Weg (Lösung) 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398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-</a:t>
                          </a:r>
                        </a:p>
                      </a:txBody>
                      <a:tcPr anchor="ctr"/>
                    </a:tc>
                  </a:tr>
                  <a:tr h="24398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𝟐</m:t>
                                    </m:r>
                                  </m:sub>
                                  <m:sup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430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𝟏</m:t>
                                    </m:r>
                                  </m:sub>
                                  <m:sup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39421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632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𝟐</m:t>
                                    </m:r>
                                  </m:sub>
                                  <m:sup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′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el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91965712"/>
                  </p:ext>
                </p:extLst>
              </p:nvPr>
            </p:nvGraphicFramePr>
            <p:xfrm>
              <a:off x="3807553" y="1959416"/>
              <a:ext cx="5482586" cy="1929766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3175"/>
                    <a:gridCol w="965971"/>
                    <a:gridCol w="883149"/>
                    <a:gridCol w="1389267"/>
                    <a:gridCol w="745512"/>
                    <a:gridCol w="745512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ausgewählte</a:t>
                          </a:r>
                        </a:p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 (Lösung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Weg (Lösung) 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219512" r="-390506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219512" r="-325517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219512" r="-107018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219512" r="-100000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-</a:t>
                          </a:r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327500" r="-390506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327500" r="-325517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327500" r="-107018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327500" r="-100000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327500" b="-375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427500" r="-325517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427500" r="-107018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427500" r="-100000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427500" b="-275000"/>
                          </a:stretch>
                        </a:blipFill>
                      </a:tcPr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324615" r="-390506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324615" r="-325517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324615" r="-107018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324615" r="-100000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324615" b="-69231"/>
                          </a:stretch>
                        </a:blipFill>
                      </a:tcPr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673171" r="-390506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673171" r="-325517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673171" r="-107018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673171" r="-100000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673171" b="-975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413396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844115"/>
            <a:ext cx="5540429" cy="3457866"/>
            <a:chOff x="1929323" y="3500542"/>
            <a:chExt cx="5540429" cy="3457866"/>
          </a:xfrm>
        </p:grpSpPr>
        <p:sp>
          <p:nvSpPr>
            <p:cNvPr id="15" name="4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3457866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9" name="2_Inhalt_Ebene1_Highlight"/>
            <p:cNvSpPr/>
            <p:nvPr>
              <p:custDataLst>
                <p:tags r:id="rId8"/>
              </p:custDataLst>
            </p:nvPr>
          </p:nvSpPr>
          <p:spPr bwMode="gray">
            <a:xfrm>
              <a:off x="2433144" y="4942872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2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2_Seiten_Ebene1_Highlight"/>
            <p:cNvSpPr txBox="1"/>
            <p:nvPr/>
          </p:nvSpPr>
          <p:spPr bwMode="gray">
            <a:xfrm>
              <a:off x="6965994" y="5008685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2496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zahl zu prüfende paarweise Verknüpfungen v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Fahrlagenvarianten zur Konfliktzeitpunktbestimmung</a:t>
            </a:r>
            <a:endParaRPr lang="de-DE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159254"/>
              </p:ext>
            </p:extLst>
          </p:nvPr>
        </p:nvGraphicFramePr>
        <p:xfrm>
          <a:off x="3150369" y="3429000"/>
          <a:ext cx="5508765" cy="201628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1836255"/>
                <a:gridCol w="1836255"/>
                <a:gridCol w="1836255"/>
              </a:tblGrid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6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8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81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1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6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187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750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9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656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06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246132"/>
              </p:ext>
            </p:extLst>
          </p:nvPr>
        </p:nvGraphicFramePr>
        <p:xfrm>
          <a:off x="846049" y="1844780"/>
          <a:ext cx="7813085" cy="64008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2304320"/>
                <a:gridCol w="1800250"/>
                <a:gridCol w="1872260"/>
                <a:gridCol w="1836255"/>
              </a:tblGrid>
              <a:tr h="5040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Fahrlagenvarianten pro Anfrage*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3472231"/>
              </p:ext>
            </p:extLst>
          </p:nvPr>
        </p:nvGraphicFramePr>
        <p:xfrm>
          <a:off x="846049" y="2780910"/>
          <a:ext cx="1872260" cy="265636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1872260"/>
              </a:tblGrid>
              <a:tr h="5040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Anzahl Anfragen im Konflik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4" name="Textfeld 13"/>
          <p:cNvSpPr txBox="1"/>
          <p:nvPr/>
        </p:nvSpPr>
        <p:spPr>
          <a:xfrm>
            <a:off x="702029" y="5589300"/>
            <a:ext cx="403256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l"/>
            <a:r>
              <a:rPr lang="de-DE" sz="1200" dirty="0" smtClean="0"/>
              <a:t>*relevant sind nur die Fahrlagenvarianten</a:t>
            </a:r>
            <a:r>
              <a:rPr lang="de-DE" dirty="0" smtClean="0"/>
              <a:t>, </a:t>
            </a:r>
            <a:r>
              <a:rPr lang="de-DE" sz="1200" dirty="0"/>
              <a:t>die </a:t>
            </a:r>
            <a:r>
              <a:rPr lang="de-DE" sz="1200" dirty="0" smtClean="0"/>
              <a:t>in der betrachteten Iteration </a:t>
            </a:r>
            <a:r>
              <a:rPr lang="de-DE" sz="1200" dirty="0"/>
              <a:t>die betroffene Systemtrasse/Systemtrassen in der Menge der nutzbaren Systemtrassen </a:t>
            </a:r>
            <a:r>
              <a:rPr lang="de-DE" sz="1200" dirty="0" smtClean="0"/>
              <a:t>enthalten </a:t>
            </a:r>
            <a:endParaRPr lang="de-DE" sz="1200" dirty="0"/>
          </a:p>
        </p:txBody>
      </p:sp>
      <p:sp>
        <p:nvSpPr>
          <p:cNvPr id="7" name="Rechteck 6"/>
          <p:cNvSpPr/>
          <p:nvPr/>
        </p:nvSpPr>
        <p:spPr bwMode="auto">
          <a:xfrm>
            <a:off x="5094639" y="5665804"/>
            <a:ext cx="4464620" cy="931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Bei der ganzjährigen Betrachtung könnten auch mehr Anfragen als im eintägigen Fall (max. 50 Anfragen) im Konflikt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stehen, da alle Fahrlagen des Jahres simultan betrachtet und zeitliche Konflikte erst durch das Modell aufgelöst werden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  <p:grpSp>
        <p:nvGrpSpPr>
          <p:cNvPr id="8" name="Group 221"/>
          <p:cNvGrpSpPr/>
          <p:nvPr/>
        </p:nvGrpSpPr>
        <p:grpSpPr>
          <a:xfrm>
            <a:off x="9096719" y="6136925"/>
            <a:ext cx="454275" cy="460515"/>
            <a:chOff x="6534800" y="5408613"/>
            <a:chExt cx="992917" cy="1006555"/>
          </a:xfrm>
        </p:grpSpPr>
        <p:sp>
          <p:nvSpPr>
            <p:cNvPr id="9" name="Freeform 222"/>
            <p:cNvSpPr>
              <a:spLocks/>
            </p:cNvSpPr>
            <p:nvPr/>
          </p:nvSpPr>
          <p:spPr bwMode="gray">
            <a:xfrm>
              <a:off x="6534800" y="5408613"/>
              <a:ext cx="992917" cy="1006555"/>
            </a:xfrm>
            <a:custGeom>
              <a:avLst/>
              <a:gdLst>
                <a:gd name="connsiteX0" fmla="*/ 572994 w 992917"/>
                <a:gd name="connsiteY0" fmla="*/ 0 h 1006555"/>
                <a:gd name="connsiteX1" fmla="*/ 628726 w 992917"/>
                <a:gd name="connsiteY1" fmla="*/ 31451 h 1006555"/>
                <a:gd name="connsiteX2" fmla="*/ 629747 w 992917"/>
                <a:gd name="connsiteY2" fmla="*/ 30973 h 1006555"/>
                <a:gd name="connsiteX3" fmla="*/ 992917 w 992917"/>
                <a:gd name="connsiteY3" fmla="*/ 660106 h 1006555"/>
                <a:gd name="connsiteX4" fmla="*/ 992917 w 992917"/>
                <a:gd name="connsiteY4" fmla="*/ 1006555 h 1006555"/>
                <a:gd name="connsiteX5" fmla="*/ 65555 w 992917"/>
                <a:gd name="connsiteY5" fmla="*/ 1006555 h 1006555"/>
                <a:gd name="connsiteX6" fmla="*/ 61913 w 992917"/>
                <a:gd name="connsiteY6" fmla="*/ 1006555 h 1006555"/>
                <a:gd name="connsiteX7" fmla="*/ 61913 w 992917"/>
                <a:gd name="connsiteY7" fmla="*/ 1006188 h 1006555"/>
                <a:gd name="connsiteX8" fmla="*/ 0 w 992917"/>
                <a:gd name="connsiteY8" fmla="*/ 940965 h 1006555"/>
                <a:gd name="connsiteX9" fmla="*/ 19841 w 992917"/>
                <a:gd name="connsiteY9" fmla="*/ 894057 h 1006555"/>
                <a:gd name="connsiteX10" fmla="*/ 512329 w 992917"/>
                <a:gd name="connsiteY10" fmla="*/ 40905 h 1006555"/>
                <a:gd name="connsiteX11" fmla="*/ 572994 w 992917"/>
                <a:gd name="connsiteY11" fmla="*/ 0 h 100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2917" h="1006555">
                  <a:moveTo>
                    <a:pt x="572994" y="0"/>
                  </a:moveTo>
                  <a:cubicBezTo>
                    <a:pt x="596652" y="0"/>
                    <a:pt x="617383" y="12540"/>
                    <a:pt x="628726" y="31451"/>
                  </a:cubicBezTo>
                  <a:lnTo>
                    <a:pt x="629747" y="30973"/>
                  </a:lnTo>
                  <a:lnTo>
                    <a:pt x="992917" y="660106"/>
                  </a:lnTo>
                  <a:lnTo>
                    <a:pt x="992917" y="1006555"/>
                  </a:lnTo>
                  <a:lnTo>
                    <a:pt x="65555" y="1006555"/>
                  </a:lnTo>
                  <a:lnTo>
                    <a:pt x="61913" y="1006555"/>
                  </a:lnTo>
                  <a:lnTo>
                    <a:pt x="61913" y="1006188"/>
                  </a:lnTo>
                  <a:cubicBezTo>
                    <a:pt x="27395" y="1004557"/>
                    <a:pt x="0" y="975962"/>
                    <a:pt x="0" y="940965"/>
                  </a:cubicBezTo>
                  <a:cubicBezTo>
                    <a:pt x="0" y="922555"/>
                    <a:pt x="6670" y="912293"/>
                    <a:pt x="19841" y="894057"/>
                  </a:cubicBezTo>
                  <a:lnTo>
                    <a:pt x="512329" y="40905"/>
                  </a:lnTo>
                  <a:cubicBezTo>
                    <a:pt x="522007" y="16900"/>
                    <a:pt x="545528" y="0"/>
                    <a:pt x="572994" y="0"/>
                  </a:cubicBezTo>
                  <a:close/>
                </a:path>
              </a:pathLst>
            </a:cu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223"/>
            <p:cNvGrpSpPr/>
            <p:nvPr/>
          </p:nvGrpSpPr>
          <p:grpSpPr>
            <a:xfrm>
              <a:off x="7023117" y="5721909"/>
              <a:ext cx="183069" cy="549041"/>
              <a:chOff x="-724945" y="-2012068"/>
              <a:chExt cx="1268389" cy="3804009"/>
            </a:xfrm>
            <a:solidFill>
              <a:schemeClr val="bg1"/>
            </a:solidFill>
          </p:grpSpPr>
          <p:sp>
            <p:nvSpPr>
              <p:cNvPr id="11" name="Oval 50"/>
              <p:cNvSpPr>
                <a:spLocks/>
              </p:cNvSpPr>
              <p:nvPr/>
            </p:nvSpPr>
            <p:spPr>
              <a:xfrm>
                <a:off x="-724945" y="-2012068"/>
                <a:ext cx="1268389" cy="2864919"/>
              </a:xfrm>
              <a:custGeom>
                <a:avLst/>
                <a:gdLst/>
                <a:ahLst/>
                <a:cxnLst/>
                <a:rect l="l" t="t" r="r" b="b"/>
                <a:pathLst>
                  <a:path w="1268389" h="2864919">
                    <a:moveTo>
                      <a:pt x="633431" y="0"/>
                    </a:moveTo>
                    <a:cubicBezTo>
                      <a:pt x="983265" y="0"/>
                      <a:pt x="1266862" y="283597"/>
                      <a:pt x="1266862" y="633431"/>
                    </a:cubicBezTo>
                    <a:lnTo>
                      <a:pt x="1264094" y="660889"/>
                    </a:lnTo>
                    <a:lnTo>
                      <a:pt x="1268389" y="660889"/>
                    </a:lnTo>
                    <a:lnTo>
                      <a:pt x="634959" y="2864919"/>
                    </a:lnTo>
                    <a:lnTo>
                      <a:pt x="7004" y="679941"/>
                    </a:lnTo>
                    <a:lnTo>
                      <a:pt x="4689" y="679941"/>
                    </a:lnTo>
                    <a:lnTo>
                      <a:pt x="3438" y="667536"/>
                    </a:lnTo>
                    <a:lnTo>
                      <a:pt x="1528" y="660889"/>
                    </a:lnTo>
                    <a:lnTo>
                      <a:pt x="2768" y="660889"/>
                    </a:lnTo>
                    <a:cubicBezTo>
                      <a:pt x="199" y="651930"/>
                      <a:pt x="0" y="642704"/>
                      <a:pt x="0" y="633431"/>
                    </a:cubicBezTo>
                    <a:cubicBezTo>
                      <a:pt x="0" y="283597"/>
                      <a:pt x="283597" y="0"/>
                      <a:pt x="63343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Oval 225"/>
              <p:cNvSpPr/>
              <p:nvPr/>
            </p:nvSpPr>
            <p:spPr>
              <a:xfrm>
                <a:off x="-473852" y="1025738"/>
                <a:ext cx="766203" cy="766203"/>
              </a:xfrm>
              <a:prstGeom prst="ellipse">
                <a:avLst/>
              </a:pr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819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844115"/>
            <a:ext cx="5540429" cy="3457866"/>
            <a:chOff x="1929323" y="3500542"/>
            <a:chExt cx="5540429" cy="3457866"/>
          </a:xfrm>
        </p:grpSpPr>
        <p:sp>
          <p:nvSpPr>
            <p:cNvPr id="15" name="4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3457866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0_Inhalt_Ebene1_Highlight"/>
            <p:cNvSpPr/>
            <p:nvPr>
              <p:custDataLst>
                <p:tags r:id="rId4"/>
              </p:custDataLst>
            </p:nvPr>
          </p:nvSpPr>
          <p:spPr bwMode="gray">
            <a:xfrm>
              <a:off x="2433144" y="3646220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blauf SAT ganzjähri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0_Seiten_Ebene1_Highlight"/>
            <p:cNvSpPr txBox="1"/>
            <p:nvPr/>
          </p:nvSpPr>
          <p:spPr bwMode="gray">
            <a:xfrm>
              <a:off x="6965994" y="3712033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2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085601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844115"/>
            <a:ext cx="5540429" cy="3457866"/>
            <a:chOff x="1929323" y="3500542"/>
            <a:chExt cx="5540429" cy="3457866"/>
          </a:xfrm>
        </p:grpSpPr>
        <p:sp>
          <p:nvSpPr>
            <p:cNvPr id="15" name="4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3457866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0" name="3_Inhalt_Ebene1_Highlight"/>
            <p:cNvSpPr/>
            <p:nvPr>
              <p:custDataLst>
                <p:tags r:id="rId8"/>
              </p:custDataLst>
            </p:nvPr>
          </p:nvSpPr>
          <p:spPr bwMode="gray">
            <a:xfrm>
              <a:off x="2433144" y="5591198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npassung SAT-Kodierun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2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3_Seiten_Ebene1_Highlight"/>
            <p:cNvSpPr txBox="1"/>
            <p:nvPr/>
          </p:nvSpPr>
          <p:spPr bwMode="gray">
            <a:xfrm>
              <a:off x="6965994" y="5657011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2316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 der Kodierung sind die Fahrlagen </a:t>
            </a:r>
            <a:r>
              <a:rPr lang="de-DE" i="1" dirty="0" smtClean="0"/>
              <a:t>r</a:t>
            </a:r>
            <a:r>
              <a:rPr lang="de-DE" dirty="0" smtClean="0"/>
              <a:t> durch Fahrlagenvarianten </a:t>
            </a:r>
            <a:r>
              <a:rPr lang="de-DE" i="1" dirty="0" smtClean="0"/>
              <a:t>x</a:t>
            </a:r>
            <a:r>
              <a:rPr lang="de-DE" dirty="0" smtClean="0"/>
              <a:t> zu ersetzen…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21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Eine Systemtrass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 smtClean="0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 ist aktiv (</a:t>
                </a:r>
                <a:r>
                  <a:rPr lang="de-DE" sz="1200" i="1" dirty="0" err="1" smtClean="0"/>
                  <a:t>s</a:t>
                </a:r>
                <a:r>
                  <a:rPr lang="de-DE" sz="1200" i="1" baseline="-25000" dirty="0" err="1" smtClean="0"/>
                  <a:t>j</a:t>
                </a:r>
                <a:r>
                  <a:rPr lang="de-DE" sz="1200" i="1" dirty="0" smtClean="0"/>
                  <a:t> = 1</a:t>
                </a:r>
                <a:r>
                  <a:rPr lang="de-DE" sz="1200" dirty="0" smtClean="0"/>
                  <a:t>), wenn eine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b="0" i="1" dirty="0" smtClean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/>
                  <a:t> diese Trassen j benutzt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𝑗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𝑖</m:t>
                        </m:r>
                      </m:sup>
                    </m:sSubSup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: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Jede Systemtrasse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 darf von maximal eine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i="1" dirty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/>
                  <a:t> belegt werden, wenn sie in der zugehörigen Menge </a:t>
                </a:r>
                <a:r>
                  <a:rPr lang="de-DE" sz="1200" i="1" dirty="0" smtClean="0"/>
                  <a:t>S</a:t>
                </a:r>
                <a:r>
                  <a:rPr lang="de-DE" sz="1200" i="1" baseline="30000" dirty="0" smtClean="0"/>
                  <a:t>i</a:t>
                </a:r>
                <a:r>
                  <a:rPr lang="de-DE" sz="1200" dirty="0" smtClean="0"/>
                  <a:t> enthalten ist, so dass 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Eine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i="1" dirty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ist aktiv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b="0" i="1" smtClean="0">
                            <a:solidFill>
                              <a:srgbClr val="004BB4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𝑖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wenn alle Teilformeln der Kodierung de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aktiv sind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Jede Verknüpfungsvariable </a:t>
                </a:r>
                <a:r>
                  <a:rPr lang="de-DE" sz="1200" i="1" dirty="0" err="1" smtClean="0"/>
                  <a:t>v</a:t>
                </a:r>
                <a:r>
                  <a:rPr lang="de-DE" sz="1200" i="1" baseline="-25000" dirty="0" err="1" smtClean="0"/>
                  <a:t>j,k</a:t>
                </a:r>
                <a:r>
                  <a:rPr lang="de-DE" sz="1200" baseline="-25000" dirty="0" smtClean="0"/>
                  <a:t> </a:t>
                </a:r>
                <a:r>
                  <a:rPr lang="de-DE" sz="1200" dirty="0" smtClean="0"/>
                  <a:t>für jede mögliche Nachfolgersystemtrass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𝑘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b="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𝑁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𝑗</m:t>
                        </m:r>
                      </m:sup>
                    </m:sSup>
                  </m:oMath>
                </a14:m>
                <a:r>
                  <a:rPr lang="de-DE" sz="1200" dirty="0" smtClean="0"/>
                  <a:t> der Systemtrasse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, ist dann aktiv wenn beide </a:t>
                </a:r>
                <a:r>
                  <a:rPr lang="de-DE" sz="1200" i="1" dirty="0" smtClean="0"/>
                  <a:t>j</a:t>
                </a:r>
                <a:r>
                  <a:rPr lang="de-DE" sz="1200" dirty="0" smtClean="0"/>
                  <a:t> und </a:t>
                </a:r>
                <a:r>
                  <a:rPr lang="de-DE" sz="1200" i="1" dirty="0" smtClean="0"/>
                  <a:t>k</a:t>
                </a:r>
                <a:r>
                  <a:rPr lang="de-DE" sz="1200" dirty="0" smtClean="0"/>
                  <a:t> aktiv sind fü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, so dass</a:t>
                </a:r>
                <a:endParaRPr lang="de-DE" sz="1200" dirty="0">
                  <a:solidFill>
                    <a:schemeClr val="tx1"/>
                  </a:solidFill>
                </a:endParaRP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Die Pfade dürfen keine Konflikte beinhalten. Um zu gewährleisten, dass alle Ausschlüsse (Konflikte) aus </a:t>
                </a:r>
                <a:r>
                  <a:rPr lang="de-DE" sz="1200" i="1" dirty="0" smtClean="0"/>
                  <a:t>E</a:t>
                </a:r>
                <a:r>
                  <a:rPr lang="de-DE" sz="1200" dirty="0" smtClean="0"/>
                  <a:t> eingehalten werden, wird folgende Teilformel hinzugefügt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/>
                  <a:t>Für den Ausschluss, dass sich mehrere Züge gleichzeitig in einem Gleis befinden, müssen die Haltegleiskapazitäten eingehalten werden. Das bedeutet, dass je zwei paarweise </a:t>
                </a:r>
                <a:r>
                  <a:rPr lang="de-DE" sz="1200" dirty="0" smtClean="0"/>
                  <a:t>verknüpfte </a:t>
                </a:r>
                <a:r>
                  <a:rPr lang="de-DE" sz="1200" dirty="0"/>
                  <a:t>Trassen nicht gleichzeitig aktiv sein können.</a:t>
                </a:r>
                <a:endParaRPr lang="de-DE" sz="1200" dirty="0"/>
              </a:p>
              <a:p>
                <a:pPr lvl="1" algn="l">
                  <a:spcBef>
                    <a:spcPts val="4200"/>
                  </a:spcBef>
                </a:pPr>
                <a:endParaRPr lang="de-DE" sz="1200" dirty="0"/>
              </a:p>
            </p:txBody>
          </p:sp>
        </mc:Choice>
        <mc:Fallback>
          <p:sp>
            <p:nvSpPr>
              <p:cNvPr id="5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  <a:blipFill rotWithShape="1">
                <a:blip r:embed="rId3"/>
                <a:stretch>
                  <a:fillRect l="-739" t="-2222" b="-2377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/>
              <p:cNvSpPr txBox="1"/>
              <p:nvPr/>
            </p:nvSpPr>
            <p:spPr>
              <a:xfrm>
                <a:off x="516026" y="1782040"/>
                <a:ext cx="1742528" cy="46442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⋀"/>
                          <m:supHide m:val="on"/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b="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𝑗</m:t>
                              </m:r>
                            </m:sup>
                          </m:sSup>
                        </m:sub>
                        <m:sup/>
                        <m:e>
                          <m:d>
                            <m:dPr>
                              <m:ctrlP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sSubSup>
                                <m:sSubSupPr>
                                  <m:ctrlPr>
                                    <a:rPr lang="de-DE" sz="12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𝑖</m:t>
                                  </m:r>
                                </m:sup>
                              </m:sSubSup>
                              <m: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  <m:t>∨</m:t>
                              </m:r>
                              <m:sSub>
                                <m:sSubPr>
                                  <m:ctrlPr>
                                    <a:rPr lang="de-DE" sz="12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, 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 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∀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𝑗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∈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</m:nary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1782040"/>
                <a:ext cx="1742528" cy="464423"/>
              </a:xfrm>
              <a:prstGeom prst="rect">
                <a:avLst/>
              </a:prstGeom>
              <a:blipFill rotWithShape="1">
                <a:blip r:embed="rId4"/>
                <a:stretch>
                  <a:fillRect l="-31579" t="-142857" r="-1404" b="-19480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/>
              <p:cNvSpPr txBox="1"/>
              <p:nvPr/>
            </p:nvSpPr>
            <p:spPr>
              <a:xfrm>
                <a:off x="516026" y="2752554"/>
                <a:ext cx="2305824" cy="2231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/>
                        </a:rPr>
                        <m:t>𝑎𝑡𝑀𝑜𝑠𝑡𝑂𝑛𝑒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d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de-DE" sz="1200" b="0" i="1" smtClean="0">
                                  <a:latin typeface="Cambria Math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200" b="0" i="1" smtClean="0"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𝑖</m:t>
                                  </m:r>
                                </m:sup>
                              </m:sSubSup>
                            </m:e>
                            <m:e>
                              <m:r>
                                <m:rPr>
                                  <m:brk m:alnAt="7"/>
                                </m:rP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𝑖</m:t>
                              </m:r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∈</m:t>
                              </m:r>
                              <m:sSup>
                                <m:sSupPr>
                                  <m:ctrlP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i="1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𝑋</m:t>
                                  </m:r>
                                </m:e>
                                <m:sup>
                                  <m: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p>
                              </m:sSup>
                            </m:e>
                          </m:d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𝑆</m:t>
                      </m:r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>
          <p:sp>
            <p:nvSpPr>
              <p:cNvPr id="8" name="Textfeld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2752554"/>
                <a:ext cx="2305824" cy="223138"/>
              </a:xfrm>
              <a:prstGeom prst="rect">
                <a:avLst/>
              </a:prstGeom>
              <a:blipFill rotWithShape="1">
                <a:blip r:embed="rId5"/>
                <a:stretch>
                  <a:fillRect l="-1058" r="-794" b="-277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/>
              <p:cNvSpPr txBox="1"/>
              <p:nvPr/>
            </p:nvSpPr>
            <p:spPr>
              <a:xfrm>
                <a:off x="540455" y="3532374"/>
                <a:ext cx="234993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>
                        <m:sSub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sub>
                      </m:sSub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∨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𝑒𝑛𝑐𝑜𝑑𝑒𝑅𝑒𝑞𝑢𝑒𝑠𝑡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𝑖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𝑋</m:t>
                      </m:r>
                    </m:oMath>
                  </m:oMathPara>
                </a14:m>
                <a:endParaRPr lang="de-DE" sz="1200" dirty="0" err="1" smtClean="0">
                  <a:solidFill>
                    <a:srgbClr val="004BB4"/>
                  </a:solidFill>
                </a:endParaRPr>
              </a:p>
            </p:txBody>
          </p:sp>
        </mc:Choice>
        <mc:Fallback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3532374"/>
                <a:ext cx="2349939" cy="184666"/>
              </a:xfrm>
              <a:prstGeom prst="rect">
                <a:avLst/>
              </a:prstGeom>
              <a:blipFill rotWithShape="1">
                <a:blip r:embed="rId6"/>
                <a:stretch>
                  <a:fillRect r="-779" b="-322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/>
              <p:cNvSpPr txBox="1"/>
              <p:nvPr/>
            </p:nvSpPr>
            <p:spPr>
              <a:xfrm>
                <a:off x="540455" y="4415930"/>
                <a:ext cx="3174780" cy="2231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bSup>
                      <m:r>
                        <a:rPr lang="de-DE" sz="1200" i="1">
                          <a:latin typeface="Cambria Math"/>
                          <a:ea typeface="Cambria Math"/>
                        </a:rPr>
                        <m:t>∨¬</m:t>
                      </m:r>
                      <m:sSubSup>
                        <m:sSub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bSup>
                      <m:r>
                        <a:rPr lang="de-DE" sz="1200" i="1">
                          <a:latin typeface="Cambria Math"/>
                          <a:ea typeface="Cambria Math"/>
                        </a:rPr>
                        <m:t>∨</m:t>
                      </m:r>
                      <m:sSub>
                        <m:sSub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𝑣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𝑖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𝑋</m:t>
                      </m:r>
                      <m:r>
                        <a:rPr lang="de-DE" sz="1200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m:rPr>
                          <m:sty m:val="p"/>
                        </m:rPr>
                        <a:rPr lang="de-DE" sz="1200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j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  <m:sup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p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p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: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𝑁</m:t>
                          </m:r>
                        </m:e>
                        <m:sup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p>
                      </m:sSup>
                    </m:oMath>
                  </m:oMathPara>
                </a14:m>
                <a:endParaRPr lang="de-DE" sz="1200" dirty="0" err="1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0" name="Textfeld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4415930"/>
                <a:ext cx="3174780" cy="223138"/>
              </a:xfrm>
              <a:prstGeom prst="rect">
                <a:avLst/>
              </a:prstGeom>
              <a:blipFill rotWithShape="1">
                <a:blip r:embed="rId7"/>
                <a:stretch>
                  <a:fillRect r="-385" b="-2702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/>
              <p:cNvSpPr txBox="1"/>
              <p:nvPr/>
            </p:nvSpPr>
            <p:spPr>
              <a:xfrm>
                <a:off x="540455" y="5294152"/>
                <a:ext cx="1651670" cy="1995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>
                        <m:sSubPr>
                          <m:ctrlPr>
                            <a:rPr lang="de-DE" sz="1200" b="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b>
                      </m:sSub>
                      <m:r>
                        <a:rPr lang="de-DE" sz="1200" i="1">
                          <a:latin typeface="Cambria Math"/>
                          <a:ea typeface="Cambria Math"/>
                        </a:rPr>
                        <m:t>∨</m:t>
                      </m:r>
                      <m:sSub>
                        <m:sSub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¬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(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)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𝐸</m:t>
                      </m:r>
                    </m:oMath>
                  </m:oMathPara>
                </a14:m>
                <a:endParaRPr lang="de-DE" sz="1200" dirty="0" err="1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5294152"/>
                <a:ext cx="1651670" cy="199542"/>
              </a:xfrm>
              <a:prstGeom prst="rect">
                <a:avLst/>
              </a:prstGeom>
              <a:blipFill rotWithShape="1">
                <a:blip r:embed="rId8"/>
                <a:stretch>
                  <a:fillRect r="-1107" b="-3030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feld 11"/>
              <p:cNvSpPr txBox="1"/>
              <p:nvPr/>
            </p:nvSpPr>
            <p:spPr>
              <a:xfrm>
                <a:off x="557899" y="6206910"/>
                <a:ext cx="5885650" cy="2142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/>
                        </a:rPr>
                        <m:t>𝑎𝑡𝑀𝑜𝑠𝑡𝑂𝑛𝑒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d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de-DE" sz="1200" b="0" i="1" smtClean="0">
                                  <a:latin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200" b="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𝑙</m:t>
                                  </m:r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de-DE" sz="1200" b="0" i="1" smtClean="0">
                                          <a:latin typeface="Cambria Math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200" b="0" i="1" smtClean="0">
                                          <a:latin typeface="Cambria Math"/>
                                        </a:rPr>
                                        <m:t>𝑙</m:t>
                                      </m:r>
                                    </m:e>
                                    <m:sup>
                                      <m:r>
                                        <a:rPr lang="de-DE" sz="1200" b="0" i="1" smtClean="0">
                                          <a:latin typeface="Cambria Math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</m:e>
                            <m:e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𝑉𝑒𝑟𝑘𝑛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ü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𝑝𝑓𝑢𝑛𝑔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𝑙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→</m:t>
                              </m:r>
                              <m:sSup>
                                <m:sSupPr>
                                  <m:ctrlP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𝑙</m:t>
                                  </m:r>
                                </m:e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ü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𝑏𝑒𝑟𝑠𝑐h𝑛𝑒𝑖𝑑𝑒𝑡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𝑠𝑖𝑐h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𝑚𝑖𝑡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𝑘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→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𝑗</m:t>
                              </m:r>
                            </m:e>
                          </m:d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𝑁</m:t>
                          </m:r>
                        </m:e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𝑗</m:t>
                          </m:r>
                        </m:sup>
                      </m:sSup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899" y="6206910"/>
                <a:ext cx="5885650" cy="214289"/>
              </a:xfrm>
              <a:prstGeom prst="rect">
                <a:avLst/>
              </a:prstGeom>
              <a:blipFill rotWithShape="1">
                <a:blip r:embed="rId9"/>
                <a:stretch>
                  <a:fillRect l="-104" b="-2285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hteck 12"/>
          <p:cNvSpPr/>
          <p:nvPr/>
        </p:nvSpPr>
        <p:spPr bwMode="auto">
          <a:xfrm>
            <a:off x="3294389" y="3429932"/>
            <a:ext cx="3384470" cy="38954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Anpassung der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effectLst/>
                <a:latin typeface="DB Office" pitchFamily="34" charset="0"/>
              </a:rPr>
              <a:t>encodeRequest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-Kodierung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nach </a:t>
            </a:r>
            <a:r>
              <a:rPr kumimoji="0" lang="de-DE" sz="1200" b="0" i="0" u="none" strike="noStrike" cap="none" normalizeH="0" dirty="0" err="1" smtClean="0">
                <a:ln>
                  <a:noFill/>
                </a:ln>
                <a:effectLst/>
                <a:latin typeface="DB Office" pitchFamily="34" charset="0"/>
              </a:rPr>
              <a:t>Systemtrassenaufteilung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auf 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Folien 24ff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227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… und um zusätzliche Nebenbedingungen zu erweit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22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 startAt="7"/>
                </a:pPr>
                <a:r>
                  <a:rPr lang="de-DE" sz="1200" dirty="0" smtClean="0"/>
                  <a:t>Wenn eine </a:t>
                </a:r>
                <a:r>
                  <a:rPr lang="de-DE" sz="1200" dirty="0" err="1" smtClean="0"/>
                  <a:t>Fahrlage</a:t>
                </a:r>
                <a:r>
                  <a:rPr lang="de-DE" sz="1200" dirty="0" smtClean="0"/>
                  <a:t> 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𝑓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𝑅</m:t>
                    </m:r>
                  </m:oMath>
                </a14:m>
                <a:r>
                  <a:rPr lang="de-DE" sz="1200" dirty="0" smtClean="0"/>
                  <a:t> aktiv is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𝑓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muss mindestens eine zugehörige Partition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𝑔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b="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𝑃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𝑓</m:t>
                        </m:r>
                      </m:sup>
                    </m:sSup>
                  </m:oMath>
                </a14:m>
                <a:r>
                  <a:rPr lang="de-DE" sz="1200" dirty="0" smtClean="0"/>
                  <a:t> aktiv sein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𝑓</m:t>
                        </m:r>
                      </m:sup>
                    </m:sSubSup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 startAt="7"/>
                </a:pPr>
                <a:r>
                  <a:rPr lang="de-DE" sz="1200" dirty="0" smtClean="0"/>
                  <a:t>Wenn eine Partition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</a:rPr>
                      <m:t>𝑔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𝑃</m:t>
                        </m:r>
                      </m:e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𝑓</m:t>
                        </m:r>
                      </m:sup>
                    </m:sSup>
                  </m:oMath>
                </a14:m>
                <a:r>
                  <a:rPr lang="de-DE" sz="1200" dirty="0" smtClean="0"/>
                  <a:t> aktiv ist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𝑓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müssen alle zugehörigen Fahrlagenvarianten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𝑛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𝑋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𝑔</m:t>
                        </m:r>
                      </m:sup>
                    </m:sSup>
                  </m:oMath>
                </a14:m>
                <a:r>
                  <a:rPr lang="de-DE" sz="1200" dirty="0" smtClean="0"/>
                  <a:t> aktiv sein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𝑔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</a:t>
                </a:r>
                <a:endParaRPr lang="de-DE" sz="1200" dirty="0"/>
              </a:p>
            </p:txBody>
          </p:sp>
        </mc:Choice>
        <mc:Fallback>
          <p:sp>
            <p:nvSpPr>
              <p:cNvPr id="5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  <a:blipFill rotWithShape="1">
                <a:blip r:embed="rId3"/>
                <a:stretch>
                  <a:fillRect l="-739" t="-1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feld 12"/>
              <p:cNvSpPr txBox="1"/>
              <p:nvPr/>
            </p:nvSpPr>
            <p:spPr>
              <a:xfrm>
                <a:off x="516026" y="1782040"/>
                <a:ext cx="1846338" cy="4853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⋁"/>
                          <m:supHide m:val="on"/>
                          <m:ctrlPr>
                            <a:rPr lang="de-DE" sz="120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𝑔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𝑃</m:t>
                              </m:r>
                            </m:e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𝑓</m:t>
                              </m:r>
                            </m:sup>
                          </m:sSup>
                        </m:sub>
                        <m:sup/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𝑓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∨</m:t>
                                  </m:r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𝑔</m:t>
                                  </m:r>
                                </m:sub>
                                <m:sup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𝑓</m:t>
                                  </m:r>
                                </m:sup>
                              </m:sSubSup>
                            </m:e>
                          </m:d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,  ∀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𝑓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𝑅</m:t>
                          </m:r>
                        </m:e>
                      </m:nary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1782040"/>
                <a:ext cx="1846338" cy="485389"/>
              </a:xfrm>
              <a:prstGeom prst="rect">
                <a:avLst/>
              </a:prstGeom>
              <a:blipFill rotWithShape="1">
                <a:blip r:embed="rId4"/>
                <a:stretch>
                  <a:fillRect l="-28713" t="-137500" r="-990" b="-1837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/>
              <p:cNvSpPr txBox="1"/>
              <p:nvPr/>
            </p:nvSpPr>
            <p:spPr>
              <a:xfrm>
                <a:off x="516026" y="2604527"/>
                <a:ext cx="1976438" cy="4482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⋀"/>
                          <m:supHide m:val="on"/>
                          <m:ctrlPr>
                            <a:rPr lang="de-DE" sz="120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𝑛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𝑔</m:t>
                              </m:r>
                            </m:sup>
                          </m:sSup>
                        </m:sub>
                        <m:sup/>
                        <m:e>
                          <m:sSubSup>
                            <m:sSub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(</m:t>
                              </m:r>
                              <m:r>
                                <a:rPr lang="de-DE" sz="120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sub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𝑓</m:t>
                              </m:r>
                            </m:sup>
                          </m:sSubSup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Sup>
                            <m:sSub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sub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sup>
                          </m:sSubSup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)</m:t>
                          </m:r>
                        </m:e>
                      </m:nary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</a:rPr>
                        <m:t>  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∀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𝑔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𝑃</m:t>
                          </m:r>
                        </m:e>
                        <m:sup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𝑓</m:t>
                          </m:r>
                        </m:sup>
                      </m:sSup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>
          <p:sp>
            <p:nvSpPr>
              <p:cNvPr id="15" name="Textfeld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2604527"/>
                <a:ext cx="1976438" cy="448200"/>
              </a:xfrm>
              <a:prstGeom prst="rect">
                <a:avLst/>
              </a:prstGeom>
              <a:blipFill rotWithShape="1">
                <a:blip r:embed="rId5"/>
                <a:stretch>
                  <a:fillRect l="-26543" t="-148649" r="-926" b="-20675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6325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844115"/>
            <a:ext cx="5540429" cy="3457866"/>
            <a:chOff x="1929323" y="3500542"/>
            <a:chExt cx="5540429" cy="3457866"/>
          </a:xfrm>
        </p:grpSpPr>
        <p:sp>
          <p:nvSpPr>
            <p:cNvPr id="15" name="4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3457866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1" name="4_Inhalt_Ebene1_Highlight"/>
            <p:cNvSpPr/>
            <p:nvPr>
              <p:custDataLst>
                <p:tags r:id="rId8"/>
              </p:custDataLst>
            </p:nvPr>
          </p:nvSpPr>
          <p:spPr bwMode="gray">
            <a:xfrm>
              <a:off x="2433144" y="6239524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2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9" name="4_Seiten_Ebene1_Highlight"/>
            <p:cNvSpPr txBox="1"/>
            <p:nvPr/>
          </p:nvSpPr>
          <p:spPr bwMode="gray">
            <a:xfrm>
              <a:off x="6965994" y="6305337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1119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1/4) </a:t>
            </a:r>
            <a:br>
              <a:rPr lang="de-DE" dirty="0" smtClean="0"/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31749085"/>
                  </p:ext>
                </p:extLst>
              </p:nvPr>
            </p:nvGraphicFramePr>
            <p:xfrm>
              <a:off x="630706" y="3682332"/>
              <a:ext cx="8784409" cy="2122932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11476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65846161"/>
                  </p:ext>
                </p:extLst>
              </p:nvPr>
            </p:nvGraphicFramePr>
            <p:xfrm>
              <a:off x="630706" y="3682332"/>
              <a:ext cx="8784409" cy="2122932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11476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  <a:endParaRPr lang="de-DE" sz="1200" baseline="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461518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60526" r="-836364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60526" r="-890769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60526" r="-3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60526" r="-2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60526" r="-1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60526" r="-403" b="-306579"/>
                          </a:stretch>
                        </a:blipFill>
                      </a:tcPr>
                    </a:tc>
                  </a:tr>
                  <a:tr h="46228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162667" r="-836364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162667" r="-890769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162667" r="-3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162667" r="-2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162667" r="-1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162667" r="-403" b="-210667"/>
                          </a:stretch>
                        </a:blipFill>
                      </a:tcPr>
                    </a:tc>
                  </a:tr>
                  <a:tr h="464058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259211" r="-836364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259211" r="-890769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259211" r="-3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259211" r="-2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259211" r="-1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259211" r="-403" b="-107895"/>
                          </a:stretch>
                        </a:blipFill>
                      </a:tcPr>
                    </a:tc>
                  </a:tr>
                  <a:tr h="460756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359211" r="-836364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359211" r="-890769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359211" r="-3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359211" r="-2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359211" r="-1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359211" r="-403" b="-7895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grpSp>
        <p:nvGrpSpPr>
          <p:cNvPr id="10" name="Gruppieren 9"/>
          <p:cNvGrpSpPr/>
          <p:nvPr/>
        </p:nvGrpSpPr>
        <p:grpSpPr>
          <a:xfrm>
            <a:off x="3661216" y="1199694"/>
            <a:ext cx="3573825" cy="1325511"/>
            <a:chOff x="1448802" y="1443591"/>
            <a:chExt cx="3573825" cy="1325511"/>
          </a:xfrm>
        </p:grpSpPr>
        <p:sp>
          <p:nvSpPr>
            <p:cNvPr id="21" name="Ellipse 20"/>
            <p:cNvSpPr/>
            <p:nvPr/>
          </p:nvSpPr>
          <p:spPr bwMode="auto">
            <a:xfrm>
              <a:off x="1448802" y="1988786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rPr>
                <a:t>Q</a:t>
              </a:r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4734595" y="198884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rPr>
                <a:t>S</a:t>
              </a: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3438451" y="198884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2473682" y="162880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29" name="Gerade Verbindung mit Pfeil 28"/>
            <p:cNvCxnSpPr>
              <a:stCxn id="21" idx="7"/>
              <a:endCxn id="26" idx="2"/>
            </p:cNvCxnSpPr>
            <p:nvPr/>
          </p:nvCxnSpPr>
          <p:spPr bwMode="auto">
            <a:xfrm flipV="1">
              <a:off x="1694653" y="1772816"/>
              <a:ext cx="779029" cy="258151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mit Pfeil 29"/>
            <p:cNvCxnSpPr>
              <a:stCxn id="26" idx="6"/>
              <a:endCxn id="25" idx="1"/>
            </p:cNvCxnSpPr>
            <p:nvPr/>
          </p:nvCxnSpPr>
          <p:spPr bwMode="auto">
            <a:xfrm>
              <a:off x="2761714" y="1772816"/>
              <a:ext cx="718918" cy="258205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mit Pfeil 30"/>
            <p:cNvCxnSpPr>
              <a:stCxn id="25" idx="6"/>
              <a:endCxn id="24" idx="2"/>
            </p:cNvCxnSpPr>
            <p:nvPr/>
          </p:nvCxnSpPr>
          <p:spPr bwMode="auto">
            <a:xfrm>
              <a:off x="3726483" y="2132856"/>
              <a:ext cx="1008112" cy="0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Ellipse 48"/>
            <p:cNvSpPr/>
            <p:nvPr/>
          </p:nvSpPr>
          <p:spPr bwMode="auto">
            <a:xfrm>
              <a:off x="2473682" y="2420888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52" name="Gerade Verbindung mit Pfeil 51"/>
            <p:cNvCxnSpPr>
              <a:stCxn id="49" idx="6"/>
              <a:endCxn id="25" idx="3"/>
            </p:cNvCxnSpPr>
            <p:nvPr/>
          </p:nvCxnSpPr>
          <p:spPr bwMode="auto">
            <a:xfrm flipV="1">
              <a:off x="2761714" y="2234691"/>
              <a:ext cx="718918" cy="330213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mit Pfeil 56"/>
            <p:cNvCxnSpPr>
              <a:stCxn id="21" idx="5"/>
              <a:endCxn id="49" idx="2"/>
            </p:cNvCxnSpPr>
            <p:nvPr/>
          </p:nvCxnSpPr>
          <p:spPr bwMode="auto">
            <a:xfrm>
              <a:off x="1694653" y="2234637"/>
              <a:ext cx="779029" cy="330267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feld 69"/>
            <p:cNvSpPr txBox="1"/>
            <p:nvPr/>
          </p:nvSpPr>
          <p:spPr>
            <a:xfrm>
              <a:off x="1543117" y="144413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1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543117" y="2348880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2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2790379" y="144413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3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2790379" y="2399770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4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3841835" y="173592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/>
                <a:t>5</a:t>
              </a:r>
              <a:r>
                <a:rPr lang="de-DE" sz="1200" b="1" baseline="-25000" dirty="0" smtClean="0"/>
                <a:t/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2523922" y="1443591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1</a:t>
              </a: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2523922" y="2236222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2</a:t>
              </a:r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3494626" y="1804120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3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feld 11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3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 flipH="1">
            <a:off x="1893744" y="3507531"/>
            <a:ext cx="160632" cy="1748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295137"/>
            <a:ext cx="278762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3907196" y="1990144"/>
            <a:ext cx="216024" cy="3168352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dirty="0"/>
          </a:p>
        </p:txBody>
      </p:sp>
      <p:sp>
        <p:nvSpPr>
          <p:cNvPr id="3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  <a:endParaRPr lang="de-DE" sz="1200" dirty="0" smtClean="0"/>
          </a:p>
        </p:txBody>
      </p:sp>
      <p:sp>
        <p:nvSpPr>
          <p:cNvPr id="37" name="Textfeld 36"/>
          <p:cNvSpPr txBox="1"/>
          <p:nvPr/>
        </p:nvSpPr>
        <p:spPr>
          <a:xfrm>
            <a:off x="102723" y="4077090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1:</a:t>
            </a:r>
            <a:endParaRPr lang="de-DE" sz="1200" dirty="0" smtClean="0"/>
          </a:p>
        </p:txBody>
      </p:sp>
      <p:sp>
        <p:nvSpPr>
          <p:cNvPr id="38" name="Textfeld 37"/>
          <p:cNvSpPr txBox="1"/>
          <p:nvPr/>
        </p:nvSpPr>
        <p:spPr>
          <a:xfrm>
            <a:off x="102723" y="4557157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2:</a:t>
            </a:r>
            <a:endParaRPr lang="de-DE" sz="1200" dirty="0" smtClean="0"/>
          </a:p>
        </p:txBody>
      </p:sp>
      <p:sp>
        <p:nvSpPr>
          <p:cNvPr id="39" name="Textfeld 38"/>
          <p:cNvSpPr txBox="1"/>
          <p:nvPr/>
        </p:nvSpPr>
        <p:spPr>
          <a:xfrm>
            <a:off x="102723" y="5037224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3:</a:t>
            </a:r>
            <a:endParaRPr lang="de-DE" sz="1200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102723" y="5517290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4: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133126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2/4) 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85466430"/>
                  </p:ext>
                </p:extLst>
              </p:nvPr>
            </p:nvGraphicFramePr>
            <p:xfrm>
              <a:off x="630706" y="3682332"/>
              <a:ext cx="8856417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586066996"/>
                  </p:ext>
                </p:extLst>
              </p:nvPr>
            </p:nvGraphicFramePr>
            <p:xfrm>
              <a:off x="630706" y="3682332"/>
              <a:ext cx="8856417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  <a:endParaRPr lang="de-DE" sz="1200" baseline="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51111" r="-844156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51111" r="-900000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51111" r="-3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51111" r="-2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51111" r="-1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51111" r="-385" b="-3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151111" r="-844156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151111" r="-900000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151111" r="-3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151111" r="-2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151111" r="-1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151111" r="-385" b="-2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251111" r="-844156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251111" r="-900000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251111" r="-3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251111" r="-2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251111" r="-1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251111" r="-385" b="-1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351111" r="-844156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351111" r="-900000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351111" r="-3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351111" r="-2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351111" r="-1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351111" r="-385" b="-444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21" name="Ellipse 20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24" name="Ellipse 2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25" name="Ellipse 24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29" name="Gerade Verbindung mit Pfeil 28"/>
          <p:cNvCxnSpPr>
            <a:stCxn id="21" idx="7"/>
            <a:endCxn id="26" idx="2"/>
          </p:cNvCxnSpPr>
          <p:nvPr/>
        </p:nvCxnSpPr>
        <p:spPr bwMode="auto">
          <a:xfrm flipV="1">
            <a:off x="3907067" y="1528919"/>
            <a:ext cx="779029" cy="25815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26" idx="6"/>
            <a:endCxn id="25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>
            <a:stCxn id="25" idx="6"/>
            <a:endCxn id="2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Ellipse 48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52" name="Gerade Verbindung mit Pfeil 51"/>
          <p:cNvCxnSpPr>
            <a:stCxn id="49" idx="6"/>
            <a:endCxn id="25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mit Pfeil 56"/>
          <p:cNvCxnSpPr>
            <a:stCxn id="21" idx="5"/>
            <a:endCxn id="49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Textfeld 69"/>
          <p:cNvSpPr txBox="1"/>
          <p:nvPr/>
        </p:nvSpPr>
        <p:spPr>
          <a:xfrm>
            <a:off x="3755531" y="120023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1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feld 102"/>
              <p:cNvSpPr txBox="1"/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1,1,0,0)</a:t>
                </a:r>
              </a:p>
            </p:txBody>
          </p:sp>
        </mc:Choice>
        <mc:Fallback xmlns="">
          <p:sp>
            <p:nvSpPr>
              <p:cNvPr id="103" name="Textfeld 10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feld 10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707040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 flipH="1">
            <a:off x="1893744" y="3507531"/>
            <a:ext cx="160632" cy="1748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3907196" y="1990144"/>
            <a:ext cx="216024" cy="3168352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4518571" y="1700808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1,1)</a:t>
                </a: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571" y="1700808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Gerade Verbindung mit Pfeil 29"/>
          <p:cNvCxnSpPr>
            <a:stCxn id="26" idx="5"/>
            <a:endCxn id="25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feld 35"/>
          <p:cNvSpPr txBox="1"/>
          <p:nvPr/>
        </p:nvSpPr>
        <p:spPr>
          <a:xfrm>
            <a:off x="8144464" y="5878529"/>
            <a:ext cx="10130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)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113603" y="2987080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38" name="Gewinkelte Verbindung 37"/>
          <p:cNvCxnSpPr>
            <a:stCxn id="37" idx="3"/>
            <a:endCxn id="36" idx="3"/>
          </p:cNvCxnSpPr>
          <p:nvPr/>
        </p:nvCxnSpPr>
        <p:spPr bwMode="auto">
          <a:xfrm flipH="1">
            <a:off x="9157562" y="3064024"/>
            <a:ext cx="185545" cy="2922227"/>
          </a:xfrm>
          <a:prstGeom prst="bentConnector3">
            <a:avLst>
              <a:gd name="adj1" fmla="val -123205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dirty="0"/>
          </a:p>
        </p:txBody>
      </p:sp>
      <p:sp>
        <p:nvSpPr>
          <p:cNvPr id="4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1" name="Textfeld 40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5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Textfeld 41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80060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3/4)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r>
              <a:rPr lang="de-DE" dirty="0" smtClean="0"/>
              <a:t>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9259374"/>
                  </p:ext>
                </p:extLst>
              </p:nvPr>
            </p:nvGraphicFramePr>
            <p:xfrm>
              <a:off x="414115" y="3682332"/>
              <a:ext cx="9073008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32586075"/>
                  </p:ext>
                </p:extLst>
              </p:nvPr>
            </p:nvGraphicFramePr>
            <p:xfrm>
              <a:off x="414115" y="3682332"/>
              <a:ext cx="9073008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51111" r="-404746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51111" r="-1015888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51111" r="-34285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51111" r="-244751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51111" r="-1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51111" r="-385" b="-3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151111" r="-404746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151111" r="-1015888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151111" r="-34285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151111" r="-244751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151111" r="-1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151111" r="-385" b="-2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51111" r="-404746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51111" r="-1015888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51111" r="-34285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51111" r="-244751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51111" r="-1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51111" r="-385" b="-1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351111" r="-404746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351111" r="-1015888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351111" r="-34285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351111" r="-244751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351111" r="-1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351111" r="-385" b="-444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>
            <a:off x="2054376" y="3507531"/>
            <a:ext cx="231947" cy="1691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4122873" y="2205821"/>
            <a:ext cx="216024" cy="2736997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54" name="Ellipse 5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0" name="Gerade Verbindung mit Pfeil 59"/>
          <p:cNvCxnSpPr>
            <a:stCxn id="53" idx="7"/>
            <a:endCxn id="59" idx="2"/>
          </p:cNvCxnSpPr>
          <p:nvPr/>
        </p:nvCxnSpPr>
        <p:spPr bwMode="auto">
          <a:xfrm rot="5400000" flipH="1" flipV="1">
            <a:off x="4167506" y="1268481"/>
            <a:ext cx="258151" cy="779029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29"/>
          <p:cNvCxnSpPr>
            <a:stCxn id="59" idx="6"/>
            <a:endCxn id="56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56" idx="6"/>
            <a:endCxn id="5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Ellipse 64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6" name="Gerade Verbindung mit Pfeil 65"/>
          <p:cNvCxnSpPr>
            <a:stCxn id="65" idx="6"/>
            <a:endCxn id="56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stCxn id="53" idx="5"/>
            <a:endCxn id="65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1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feld 72"/>
              <p:cNvSpPr txBox="1"/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1,0,0)</a:t>
                </a:r>
              </a:p>
            </p:txBody>
          </p:sp>
        </mc:Choice>
        <mc:Fallback xmlns="">
          <p:sp>
            <p:nvSpPr>
              <p:cNvPr id="73" name="Textfeld 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feld 7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5707040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/>
              <p:cNvSpPr txBox="1"/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0,0,1,1)</a:t>
                </a:r>
              </a:p>
            </p:txBody>
          </p:sp>
        </mc:Choice>
        <mc:Fallback xmlns="">
          <p:sp>
            <p:nvSpPr>
              <p:cNvPr id="79" name="Textfeld 7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29"/>
          <p:cNvCxnSpPr>
            <a:stCxn id="59" idx="5"/>
            <a:endCxn id="56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59"/>
          <p:cNvCxnSpPr>
            <a:stCxn id="53" idx="6"/>
            <a:endCxn id="59" idx="3"/>
          </p:cNvCxnSpPr>
          <p:nvPr/>
        </p:nvCxnSpPr>
        <p:spPr bwMode="auto">
          <a:xfrm flipV="1">
            <a:off x="3949248" y="1630754"/>
            <a:ext cx="779029" cy="258151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1,0,0,0)</a:t>
                </a: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1,1,1)</a:t>
                </a:r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blipFill rotWithShape="1">
                <a:blip r:embed="rId6"/>
                <a:stretch>
                  <a:fillRect l="-820" r="-820" b="-213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feld 31"/>
          <p:cNvSpPr txBox="1"/>
          <p:nvPr/>
        </p:nvSpPr>
        <p:spPr>
          <a:xfrm>
            <a:off x="5697549" y="4221088"/>
            <a:ext cx="10130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)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7106136" y="2852936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37" name="Gewinkelte Verbindung 36"/>
          <p:cNvCxnSpPr>
            <a:stCxn id="33" idx="1"/>
            <a:endCxn id="32" idx="3"/>
          </p:cNvCxnSpPr>
          <p:nvPr/>
        </p:nvCxnSpPr>
        <p:spPr bwMode="auto">
          <a:xfrm rot="10800000" flipV="1">
            <a:off x="6710648" y="2929880"/>
            <a:ext cx="395489" cy="1398930"/>
          </a:xfrm>
          <a:prstGeom prst="bentConnector3">
            <a:avLst>
              <a:gd name="adj1" fmla="val 65414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dirty="0"/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2" name="Textfeld 41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7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Textfeld 42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3381101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4/4)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r>
              <a:rPr lang="de-DE" dirty="0" smtClean="0"/>
              <a:t>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970100"/>
                  </p:ext>
                </p:extLst>
              </p:nvPr>
            </p:nvGraphicFramePr>
            <p:xfrm>
              <a:off x="414115" y="3682332"/>
              <a:ext cx="9073008" cy="2576894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="0" baseline="0" dirty="0" smtClean="0">
                            <a:solidFill>
                              <a:srgbClr val="004BB4"/>
                            </a:solidFill>
                            <a:ea typeface="Cambria Math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="0" i="1" baseline="0" dirty="0" smtClean="0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49185155"/>
                  </p:ext>
                </p:extLst>
              </p:nvPr>
            </p:nvGraphicFramePr>
            <p:xfrm>
              <a:off x="414115" y="3682332"/>
              <a:ext cx="9073008" cy="2576894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51111" r="-404746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51111" r="-1015888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51111" r="-342857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51111" r="-244751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51111" r="-143407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51111" r="-385" b="-325556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151111" r="-404746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151111" r="-1015888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151111" r="-342857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151111" r="-244751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151111" r="-143407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151111" r="-385" b="-225556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51111" r="-404746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51111" r="-1015888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51111" r="-342857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51111" r="-244751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51111" r="-143407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51111" r="-385" b="-125556"/>
                          </a:stretch>
                        </a:blipFill>
                      </a:tcPr>
                    </a:tc>
                  </a:tr>
                  <a:tr h="656654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92593" r="-404746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92593" r="-1015888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92593" r="-342857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92593" r="-244751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92593" r="-143407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92593" r="-385" b="-463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>
            <a:off x="2054376" y="3507531"/>
            <a:ext cx="231947" cy="1691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4122873" y="2205821"/>
            <a:ext cx="216024" cy="2736997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54" name="Ellipse 5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0" name="Gerade Verbindung mit Pfeil 59"/>
          <p:cNvCxnSpPr>
            <a:stCxn id="53" idx="7"/>
            <a:endCxn id="59" idx="2"/>
          </p:cNvCxnSpPr>
          <p:nvPr/>
        </p:nvCxnSpPr>
        <p:spPr bwMode="auto">
          <a:xfrm rot="5400000" flipH="1" flipV="1">
            <a:off x="4167506" y="1268481"/>
            <a:ext cx="258151" cy="779029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29"/>
          <p:cNvCxnSpPr>
            <a:stCxn id="59" idx="6"/>
            <a:endCxn id="56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56" idx="6"/>
            <a:endCxn id="5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Ellipse 64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6" name="Gerade Verbindung mit Pfeil 65"/>
          <p:cNvCxnSpPr>
            <a:stCxn id="65" idx="6"/>
            <a:endCxn id="56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stCxn id="53" idx="5"/>
            <a:endCxn id="65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1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feld 72"/>
              <p:cNvSpPr txBox="1"/>
              <p:nvPr/>
            </p:nvSpPr>
            <p:spPr>
              <a:xfrm>
                <a:off x="5455354" y="87081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1,0,0)</a:t>
                </a:r>
              </a:p>
            </p:txBody>
          </p:sp>
        </mc:Choice>
        <mc:Fallback xmlns="">
          <p:sp>
            <p:nvSpPr>
              <p:cNvPr id="73" name="Textfeld 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5354" y="87081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l="-813"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feld 7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5843187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/>
              <p:cNvSpPr txBox="1"/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0,1)</a:t>
                </a:r>
              </a:p>
            </p:txBody>
          </p:sp>
        </mc:Choice>
        <mc:Fallback xmlns="">
          <p:sp>
            <p:nvSpPr>
              <p:cNvPr id="79" name="Textfeld 7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29"/>
          <p:cNvCxnSpPr>
            <a:stCxn id="59" idx="5"/>
            <a:endCxn id="56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59"/>
          <p:cNvCxnSpPr>
            <a:stCxn id="53" idx="6"/>
            <a:endCxn id="59" idx="3"/>
          </p:cNvCxnSpPr>
          <p:nvPr/>
        </p:nvCxnSpPr>
        <p:spPr bwMode="auto">
          <a:xfrm flipV="1">
            <a:off x="3949248" y="1630754"/>
            <a:ext cx="779029" cy="258151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0,0,0)</a:t>
                </a: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0,1,1,1)</a:t>
                </a:r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blipFill rotWithShape="1">
                <a:blip r:embed="rId6"/>
                <a:stretch>
                  <a:fillRect l="-820" r="-820" b="-213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29"/>
          <p:cNvCxnSpPr>
            <a:stCxn id="59" idx="7"/>
            <a:endCxn id="56" idx="0"/>
          </p:cNvCxnSpPr>
          <p:nvPr/>
        </p:nvCxnSpPr>
        <p:spPr bwMode="auto">
          <a:xfrm rot="16200000" flipH="1">
            <a:off x="5204484" y="1154546"/>
            <a:ext cx="317859" cy="862934"/>
          </a:xfrm>
          <a:prstGeom prst="curvedConnector3">
            <a:avLst>
              <a:gd name="adj1" fmla="val -85189"/>
            </a:avLst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4993963" y="1259468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1,0)</a:t>
                </a:r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3963" y="1259468"/>
                <a:ext cx="748744" cy="369332"/>
              </a:xfrm>
              <a:prstGeom prst="rect">
                <a:avLst/>
              </a:prstGeom>
              <a:blipFill rotWithShape="1">
                <a:blip r:embed="rId7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6" name="Textfeld 95"/>
          <p:cNvSpPr txBox="1"/>
          <p:nvPr/>
        </p:nvSpPr>
        <p:spPr>
          <a:xfrm>
            <a:off x="8073251" y="4766549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sp>
        <p:nvSpPr>
          <p:cNvPr id="97" name="Textfeld 96"/>
          <p:cNvSpPr txBox="1"/>
          <p:nvPr/>
        </p:nvSpPr>
        <p:spPr>
          <a:xfrm>
            <a:off x="8105935" y="2987080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98" name="Gewinkelte Verbindung 97"/>
          <p:cNvCxnSpPr>
            <a:stCxn id="97" idx="3"/>
            <a:endCxn id="96" idx="3"/>
          </p:cNvCxnSpPr>
          <p:nvPr/>
        </p:nvCxnSpPr>
        <p:spPr bwMode="auto">
          <a:xfrm flipH="1">
            <a:off x="9136042" y="3064024"/>
            <a:ext cx="199397" cy="1810247"/>
          </a:xfrm>
          <a:prstGeom prst="bentConnector3">
            <a:avLst>
              <a:gd name="adj1" fmla="val -114646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Textfeld 98"/>
          <p:cNvSpPr txBox="1"/>
          <p:nvPr/>
        </p:nvSpPr>
        <p:spPr>
          <a:xfrm>
            <a:off x="8113555" y="6013668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100" name="Gewinkelte Verbindung 99"/>
          <p:cNvCxnSpPr>
            <a:stCxn id="97" idx="3"/>
            <a:endCxn id="99" idx="3"/>
          </p:cNvCxnSpPr>
          <p:nvPr/>
        </p:nvCxnSpPr>
        <p:spPr bwMode="auto">
          <a:xfrm flipH="1">
            <a:off x="9176346" y="3064024"/>
            <a:ext cx="159093" cy="3057366"/>
          </a:xfrm>
          <a:prstGeom prst="bentConnector3">
            <a:avLst>
              <a:gd name="adj1" fmla="val -14369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Textfeld 100"/>
          <p:cNvSpPr txBox="1"/>
          <p:nvPr/>
        </p:nvSpPr>
        <p:spPr>
          <a:xfrm>
            <a:off x="8103731" y="5828124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102" name="Gewinkelte Verbindung 101"/>
          <p:cNvCxnSpPr>
            <a:stCxn id="97" idx="3"/>
            <a:endCxn id="101" idx="3"/>
          </p:cNvCxnSpPr>
          <p:nvPr/>
        </p:nvCxnSpPr>
        <p:spPr bwMode="auto">
          <a:xfrm flipH="1">
            <a:off x="9166522" y="3064024"/>
            <a:ext cx="168917" cy="2871822"/>
          </a:xfrm>
          <a:prstGeom prst="bentConnector3">
            <a:avLst>
              <a:gd name="adj1" fmla="val -135333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de-DE" dirty="0"/>
          </a:p>
        </p:txBody>
      </p:sp>
      <p:sp>
        <p:nvSpPr>
          <p:cNvPr id="4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8" name="Textfeld 47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8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19632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</a:t>
            </a:r>
            <a:br>
              <a:rPr lang="de-DE" dirty="0" smtClean="0"/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</a:rPr>
              <a:t>Abgeleitete Regel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2187" y="2132856"/>
            <a:ext cx="7056784" cy="13681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342900" lvl="1" indent="-342900" algn="l">
              <a:buFont typeface="+mj-lt"/>
              <a:buAutoNum type="arabicPeriod"/>
            </a:pPr>
            <a:r>
              <a:rPr lang="de-DE" sz="1600" dirty="0" smtClean="0"/>
              <a:t>Liegt die </a:t>
            </a:r>
            <a:r>
              <a:rPr lang="de-DE" sz="1600" dirty="0" smtClean="0"/>
              <a:t>Fahrlagenvariante </a:t>
            </a:r>
            <a:r>
              <a:rPr lang="de-DE" sz="1600" dirty="0" smtClean="0"/>
              <a:t>vollständig innerhalb einer der beiden geschnittenen Systemtrassen </a:t>
            </a:r>
            <a:r>
              <a:rPr lang="de-DE" sz="1600" dirty="0" err="1" smtClean="0"/>
              <a:t>s‘</a:t>
            </a:r>
            <a:r>
              <a:rPr lang="de-DE" sz="1600" dirty="0" smtClean="0"/>
              <a:t> oder s‘‘, so ist s durch </a:t>
            </a:r>
            <a:r>
              <a:rPr lang="de-DE" sz="1600" dirty="0" err="1" smtClean="0"/>
              <a:t>s‘</a:t>
            </a:r>
            <a:r>
              <a:rPr lang="de-DE" sz="1600" dirty="0" smtClean="0"/>
              <a:t> oder s‘‘ zu ersetzen</a:t>
            </a:r>
          </a:p>
          <a:p>
            <a:pPr marL="342900" lvl="1" indent="-342900" algn="l">
              <a:buFont typeface="+mj-lt"/>
              <a:buAutoNum type="arabicPeriod"/>
            </a:pPr>
            <a:endParaRPr lang="de-DE" sz="1600" dirty="0" smtClean="0"/>
          </a:p>
          <a:p>
            <a:pPr marL="342900" lvl="1" indent="-342900" algn="l">
              <a:buFont typeface="+mj-lt"/>
              <a:buAutoNum type="arabicPeriod"/>
            </a:pPr>
            <a:r>
              <a:rPr lang="de-DE" sz="1600" dirty="0" smtClean="0"/>
              <a:t>Läuft die </a:t>
            </a:r>
            <a:r>
              <a:rPr lang="de-DE" sz="1600" dirty="0" smtClean="0"/>
              <a:t>Fahrlagenvariante </a:t>
            </a:r>
            <a:r>
              <a:rPr lang="de-DE" sz="1600" dirty="0" smtClean="0"/>
              <a:t>über den Schnitt hinaus (d.h. es wird sowohl </a:t>
            </a:r>
            <a:r>
              <a:rPr lang="de-DE" sz="1600" dirty="0" err="1" smtClean="0"/>
              <a:t>s‘</a:t>
            </a:r>
            <a:r>
              <a:rPr lang="de-DE" sz="1600" dirty="0" smtClean="0"/>
              <a:t> als auch s‘‘ benötigt), so ist </a:t>
            </a:r>
          </a:p>
          <a:p>
            <a:pPr lvl="3" algn="l"/>
            <a:r>
              <a:rPr lang="de-DE" sz="1600" dirty="0" smtClean="0"/>
              <a:t>s durch </a:t>
            </a:r>
            <a:r>
              <a:rPr lang="de-DE" sz="1600" dirty="0" err="1" smtClean="0"/>
              <a:t>s‘</a:t>
            </a:r>
            <a:r>
              <a:rPr lang="de-DE" sz="1600" dirty="0" smtClean="0"/>
              <a:t> zu ersetzen </a:t>
            </a:r>
          </a:p>
          <a:p>
            <a:pPr lvl="3" algn="l"/>
            <a:r>
              <a:rPr lang="de-DE" sz="1600" dirty="0" smtClean="0"/>
              <a:t>und je Ersetzung eine zusätzliche (zu </a:t>
            </a:r>
            <a:r>
              <a:rPr lang="de-DE" sz="1600" dirty="0" err="1" smtClean="0"/>
              <a:t>s‘</a:t>
            </a:r>
            <a:r>
              <a:rPr lang="de-DE" sz="1600" dirty="0" smtClean="0"/>
              <a:t> analoge) Nebenbedingung für s‘‘ einzufügen</a:t>
            </a:r>
          </a:p>
          <a:p>
            <a:pPr lvl="1" algn="l"/>
            <a:endParaRPr lang="de-DE" sz="1600" dirty="0"/>
          </a:p>
        </p:txBody>
      </p:sp>
      <p:sp>
        <p:nvSpPr>
          <p:cNvPr id="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6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3</a:t>
            </a:fld>
            <a:endParaRPr lang="de-DE" dirty="0"/>
          </a:p>
        </p:txBody>
      </p:sp>
      <p:sp>
        <p:nvSpPr>
          <p:cNvPr id="5" name="Abgerundetes Rechteck 4"/>
          <p:cNvSpPr/>
          <p:nvPr/>
        </p:nvSpPr>
        <p:spPr bwMode="auto">
          <a:xfrm>
            <a:off x="269319" y="116540"/>
            <a:ext cx="2808312" cy="496409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Fahrlagen, Systemtrassen un</a:t>
            </a:r>
            <a:r>
              <a:rPr lang="de-DE" sz="1200" dirty="0" smtClean="0">
                <a:latin typeface="DB Office" pitchFamily="34" charset="0"/>
              </a:rPr>
              <a:t>d Schneideregeln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 laden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269319" y="832643"/>
            <a:ext cx="2808312" cy="36004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B Office" pitchFamily="34" charset="0"/>
              </a:rPr>
              <a:t>Partitionierung der </a:t>
            </a:r>
            <a:r>
              <a:rPr lang="de-DE" sz="1200" dirty="0" smtClean="0">
                <a:latin typeface="DB Office" pitchFamily="34" charset="0"/>
              </a:rPr>
              <a:t>Fahrlag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 bwMode="auto">
          <a:xfrm>
            <a:off x="269319" y="133671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ürzeste Wegesuche je Fahrlagenvariante (für alle Partitionen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269319" y="191279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Aufnahme der Partition mit der besten Qualitätskennzahl je </a:t>
            </a:r>
            <a:r>
              <a:rPr lang="de-DE" sz="1200" dirty="0" err="1" smtClean="0">
                <a:latin typeface="DB Office" pitchFamily="34" charset="0"/>
              </a:rPr>
              <a:t>Fahrlage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269319" y="248887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Entscheidungsproblem lös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0" name="Raute 9"/>
          <p:cNvSpPr/>
          <p:nvPr/>
        </p:nvSpPr>
        <p:spPr bwMode="auto">
          <a:xfrm>
            <a:off x="269320" y="3201129"/>
            <a:ext cx="2808311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SAT-Gesamtsystem lösbar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4013162" y="614019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finden (HLMUS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4013162" y="123326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4013162" y="1852507"/>
            <a:ext cx="2808312" cy="7569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Prüfung</a:t>
            </a:r>
            <a:r>
              <a:rPr lang="de-DE" sz="1200" dirty="0" smtClean="0">
                <a:latin typeface="DB Office" pitchFamily="34" charset="0"/>
              </a:rPr>
              <a:t> aller Fahrlagenvarianten der Fahrlagen im Makrokonflikt auf Konfliktzeitpunkt (Konfliktzeitpunktbestimmung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4" name="Raute 13"/>
          <p:cNvSpPr/>
          <p:nvPr/>
        </p:nvSpPr>
        <p:spPr bwMode="auto">
          <a:xfrm>
            <a:off x="4013163" y="2788992"/>
            <a:ext cx="2808311" cy="1093959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Konfliktauflösung zwischen Fahrlagen-varianten durch zeitliche Aufteilung Systemtrasse möglich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7024931" y="1844600"/>
            <a:ext cx="2594640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ystemtrassen und Halteplätze zum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Zeitpunkt sper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7002662" y="2420680"/>
            <a:ext cx="2664370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Wegesuche erneut durchfüh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7" name="Raute 16"/>
          <p:cNvSpPr/>
          <p:nvPr/>
        </p:nvSpPr>
        <p:spPr bwMode="auto">
          <a:xfrm>
            <a:off x="7166380" y="3069038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Neue Wege gefunden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4013162" y="4152639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9" name="Abgerundetes Rechteck 18"/>
          <p:cNvSpPr/>
          <p:nvPr/>
        </p:nvSpPr>
        <p:spPr bwMode="auto">
          <a:xfrm>
            <a:off x="4013162" y="4857546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0" name="Gerade Verbindung mit Pfeil 19"/>
          <p:cNvCxnSpPr>
            <a:stCxn id="5" idx="2"/>
            <a:endCxn id="6" idx="0"/>
          </p:cNvCxnSpPr>
          <p:nvPr/>
        </p:nvCxnSpPr>
        <p:spPr bwMode="auto">
          <a:xfrm>
            <a:off x="1673475" y="612949"/>
            <a:ext cx="0" cy="2196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stCxn id="6" idx="2"/>
            <a:endCxn id="7" idx="0"/>
          </p:cNvCxnSpPr>
          <p:nvPr/>
        </p:nvCxnSpPr>
        <p:spPr bwMode="auto">
          <a:xfrm>
            <a:off x="1673475" y="1192683"/>
            <a:ext cx="0" cy="1440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mit Pfeil 21"/>
          <p:cNvCxnSpPr>
            <a:stCxn id="7" idx="2"/>
            <a:endCxn id="8" idx="0"/>
          </p:cNvCxnSpPr>
          <p:nvPr/>
        </p:nvCxnSpPr>
        <p:spPr bwMode="auto">
          <a:xfrm>
            <a:off x="1673475" y="1776408"/>
            <a:ext cx="0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/>
          <p:cNvCxnSpPr>
            <a:stCxn id="8" idx="2"/>
            <a:endCxn id="9" idx="0"/>
          </p:cNvCxnSpPr>
          <p:nvPr/>
        </p:nvCxnSpPr>
        <p:spPr bwMode="auto">
          <a:xfrm>
            <a:off x="1673475" y="2352488"/>
            <a:ext cx="0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23"/>
          <p:cNvCxnSpPr>
            <a:stCxn id="9" idx="2"/>
            <a:endCxn id="10" idx="0"/>
          </p:cNvCxnSpPr>
          <p:nvPr/>
        </p:nvCxnSpPr>
        <p:spPr bwMode="auto">
          <a:xfrm>
            <a:off x="1673475" y="2928568"/>
            <a:ext cx="1" cy="272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winkelte Verbindung 24"/>
          <p:cNvCxnSpPr>
            <a:stCxn id="10" idx="3"/>
            <a:endCxn id="11" idx="1"/>
          </p:cNvCxnSpPr>
          <p:nvPr/>
        </p:nvCxnSpPr>
        <p:spPr bwMode="auto">
          <a:xfrm flipV="1">
            <a:off x="3077631" y="833867"/>
            <a:ext cx="935531" cy="277939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mit Pfeil 25"/>
          <p:cNvCxnSpPr>
            <a:stCxn id="11" idx="2"/>
            <a:endCxn id="12" idx="0"/>
          </p:cNvCxnSpPr>
          <p:nvPr/>
        </p:nvCxnSpPr>
        <p:spPr bwMode="auto">
          <a:xfrm>
            <a:off x="5417318" y="1053714"/>
            <a:ext cx="0" cy="17954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mit Pfeil 26"/>
          <p:cNvCxnSpPr>
            <a:stCxn id="12" idx="2"/>
            <a:endCxn id="13" idx="0"/>
          </p:cNvCxnSpPr>
          <p:nvPr/>
        </p:nvCxnSpPr>
        <p:spPr bwMode="auto">
          <a:xfrm>
            <a:off x="5417318" y="1672958"/>
            <a:ext cx="0" cy="17954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/>
          <p:cNvCxnSpPr>
            <a:stCxn id="13" idx="2"/>
            <a:endCxn id="14" idx="0"/>
          </p:cNvCxnSpPr>
          <p:nvPr/>
        </p:nvCxnSpPr>
        <p:spPr bwMode="auto">
          <a:xfrm>
            <a:off x="5417318" y="2609444"/>
            <a:ext cx="1" cy="1795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mit Pfeil 28"/>
          <p:cNvCxnSpPr>
            <a:stCxn id="14" idx="2"/>
            <a:endCxn id="18" idx="0"/>
          </p:cNvCxnSpPr>
          <p:nvPr/>
        </p:nvCxnSpPr>
        <p:spPr bwMode="auto">
          <a:xfrm flipH="1">
            <a:off x="5417318" y="3882951"/>
            <a:ext cx="1" cy="2696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18" idx="2"/>
            <a:endCxn id="19" idx="0"/>
          </p:cNvCxnSpPr>
          <p:nvPr/>
        </p:nvCxnSpPr>
        <p:spPr bwMode="auto">
          <a:xfrm>
            <a:off x="5417318" y="4721183"/>
            <a:ext cx="0" cy="1363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winkelte Verbindung 30"/>
          <p:cNvCxnSpPr>
            <a:stCxn id="14" idx="3"/>
            <a:endCxn id="15" idx="0"/>
          </p:cNvCxnSpPr>
          <p:nvPr/>
        </p:nvCxnSpPr>
        <p:spPr bwMode="auto">
          <a:xfrm flipV="1">
            <a:off x="6821474" y="1844600"/>
            <a:ext cx="1500777" cy="1491372"/>
          </a:xfrm>
          <a:prstGeom prst="bentConnector4">
            <a:avLst>
              <a:gd name="adj1" fmla="val 6778"/>
              <a:gd name="adj2" fmla="val 11532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/>
          <p:cNvCxnSpPr>
            <a:stCxn id="15" idx="2"/>
            <a:endCxn id="16" idx="0"/>
          </p:cNvCxnSpPr>
          <p:nvPr/>
        </p:nvCxnSpPr>
        <p:spPr bwMode="auto">
          <a:xfrm>
            <a:off x="8322251" y="2284295"/>
            <a:ext cx="12596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/>
          <p:cNvCxnSpPr>
            <a:endCxn id="17" idx="0"/>
          </p:cNvCxnSpPr>
          <p:nvPr/>
        </p:nvCxnSpPr>
        <p:spPr bwMode="auto">
          <a:xfrm>
            <a:off x="8088069" y="2860375"/>
            <a:ext cx="0" cy="2086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winkelte Verbindung 33"/>
          <p:cNvCxnSpPr>
            <a:stCxn id="19" idx="2"/>
            <a:endCxn id="9" idx="1"/>
          </p:cNvCxnSpPr>
          <p:nvPr/>
        </p:nvCxnSpPr>
        <p:spPr bwMode="auto">
          <a:xfrm rot="5400000" flipH="1">
            <a:off x="1477038" y="1501003"/>
            <a:ext cx="2732562" cy="5147999"/>
          </a:xfrm>
          <a:prstGeom prst="bentConnector4">
            <a:avLst>
              <a:gd name="adj1" fmla="val -8366"/>
              <a:gd name="adj2" fmla="val 10444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bgerundetes Rechteck 34"/>
          <p:cNvSpPr/>
          <p:nvPr/>
        </p:nvSpPr>
        <p:spPr bwMode="auto">
          <a:xfrm>
            <a:off x="6405373" y="5657313"/>
            <a:ext cx="1262707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x-SAT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winkelte Verbindung 35"/>
          <p:cNvCxnSpPr>
            <a:stCxn id="35" idx="1"/>
            <a:endCxn id="9" idx="1"/>
          </p:cNvCxnSpPr>
          <p:nvPr/>
        </p:nvCxnSpPr>
        <p:spPr bwMode="auto">
          <a:xfrm rot="10800000">
            <a:off x="269319" y="2708721"/>
            <a:ext cx="6136054" cy="3168440"/>
          </a:xfrm>
          <a:prstGeom prst="bentConnector3">
            <a:avLst>
              <a:gd name="adj1" fmla="val 10372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winkelte Verbindung 36"/>
          <p:cNvCxnSpPr>
            <a:stCxn id="10" idx="2"/>
            <a:endCxn id="38" idx="1"/>
          </p:cNvCxnSpPr>
          <p:nvPr/>
        </p:nvCxnSpPr>
        <p:spPr bwMode="auto">
          <a:xfrm rot="16200000" flipH="1">
            <a:off x="1602388" y="4096489"/>
            <a:ext cx="645580" cy="50340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bgerundetes Rechteck 37"/>
          <p:cNvSpPr/>
          <p:nvPr/>
        </p:nvSpPr>
        <p:spPr bwMode="auto">
          <a:xfrm>
            <a:off x="2176880" y="4451133"/>
            <a:ext cx="1368515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Lösung ausgeb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3222379" y="3409889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710169" y="4464507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149287" y="3857063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42" name="Raute 41"/>
          <p:cNvSpPr/>
          <p:nvPr/>
        </p:nvSpPr>
        <p:spPr bwMode="auto">
          <a:xfrm>
            <a:off x="7166380" y="4077086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SAT-Konflikte auflösbar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3" name="Gerade Verbindung mit Pfeil 42"/>
          <p:cNvCxnSpPr>
            <a:stCxn id="17" idx="2"/>
            <a:endCxn id="42" idx="0"/>
          </p:cNvCxnSpPr>
          <p:nvPr/>
        </p:nvCxnSpPr>
        <p:spPr bwMode="auto">
          <a:xfrm>
            <a:off x="8088069" y="3893310"/>
            <a:ext cx="0" cy="1837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Abgerundetes Rechteck 43"/>
          <p:cNvSpPr/>
          <p:nvPr/>
        </p:nvSpPr>
        <p:spPr bwMode="auto">
          <a:xfrm>
            <a:off x="8911169" y="3640447"/>
            <a:ext cx="979400" cy="56441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/>
              <a:t>w</a:t>
            </a:r>
            <a:r>
              <a:rPr lang="de-DE" sz="1200" dirty="0" smtClean="0">
                <a:latin typeface="DB Office" pitchFamily="34" charset="0"/>
              </a:rPr>
              <a:t>eitere Konflikte such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5" name="Gerade Verbindung mit Pfeil 44"/>
          <p:cNvCxnSpPr>
            <a:stCxn id="42" idx="2"/>
            <a:endCxn id="46" idx="0"/>
          </p:cNvCxnSpPr>
          <p:nvPr/>
        </p:nvCxnSpPr>
        <p:spPr bwMode="auto">
          <a:xfrm>
            <a:off x="8088069" y="4901358"/>
            <a:ext cx="0" cy="127169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Abgerundetes Rechteck 45"/>
          <p:cNvSpPr/>
          <p:nvPr/>
        </p:nvSpPr>
        <p:spPr bwMode="auto">
          <a:xfrm>
            <a:off x="7509897" y="6173049"/>
            <a:ext cx="1156344" cy="56441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Lösungsraum vergrößer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7" name="Gewinkelte Verbindung 46"/>
          <p:cNvCxnSpPr>
            <a:stCxn id="42" idx="3"/>
            <a:endCxn id="44" idx="2"/>
          </p:cNvCxnSpPr>
          <p:nvPr/>
        </p:nvCxnSpPr>
        <p:spPr bwMode="auto">
          <a:xfrm flipV="1">
            <a:off x="9009757" y="4204861"/>
            <a:ext cx="391112" cy="284361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winkelte Verbindung 47"/>
          <p:cNvCxnSpPr>
            <a:endCxn id="12" idx="3"/>
          </p:cNvCxnSpPr>
          <p:nvPr/>
        </p:nvCxnSpPr>
        <p:spPr bwMode="auto">
          <a:xfrm rot="10800000">
            <a:off x="6821474" y="1453111"/>
            <a:ext cx="2953776" cy="2187336"/>
          </a:xfrm>
          <a:prstGeom prst="bentConnector3">
            <a:avLst>
              <a:gd name="adj1" fmla="val 1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winkelte Verbindung 48"/>
          <p:cNvCxnSpPr>
            <a:stCxn id="17" idx="1"/>
            <a:endCxn id="35" idx="0"/>
          </p:cNvCxnSpPr>
          <p:nvPr/>
        </p:nvCxnSpPr>
        <p:spPr bwMode="auto">
          <a:xfrm rot="10800000" flipV="1">
            <a:off x="7036728" y="3481173"/>
            <a:ext cx="129653" cy="2176139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winkelte Verbindung 49"/>
          <p:cNvCxnSpPr>
            <a:stCxn id="46" idx="1"/>
            <a:endCxn id="9" idx="1"/>
          </p:cNvCxnSpPr>
          <p:nvPr/>
        </p:nvCxnSpPr>
        <p:spPr bwMode="auto">
          <a:xfrm rot="10800000">
            <a:off x="269319" y="2708722"/>
            <a:ext cx="7240578" cy="3746535"/>
          </a:xfrm>
          <a:prstGeom prst="bentConnector3">
            <a:avLst>
              <a:gd name="adj1" fmla="val 10315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7075214" y="3577370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8943773" y="4539525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8131391" y="4909202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6606849" y="2952297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467021" y="3888427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</p:spTree>
    <p:extLst>
      <p:ext uri="{BB962C8B-B14F-4D97-AF65-F5344CB8AC3E}">
        <p14:creationId xmlns:p14="http://schemas.microsoft.com/office/powerpoint/2010/main" val="3695429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844115"/>
            <a:ext cx="5540429" cy="3457866"/>
            <a:chOff x="1929323" y="3500542"/>
            <a:chExt cx="5540429" cy="3457866"/>
          </a:xfrm>
        </p:grpSpPr>
        <p:sp>
          <p:nvSpPr>
            <p:cNvPr id="15" name="4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3457866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1_Inhalt_Ebene1_Highlight"/>
            <p:cNvSpPr/>
            <p:nvPr>
              <p:custDataLst>
                <p:tags r:id="rId8"/>
              </p:custDataLst>
            </p:nvPr>
          </p:nvSpPr>
          <p:spPr bwMode="gray">
            <a:xfrm>
              <a:off x="2433144" y="4294546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Rechenbeispiel SAT ganzjähri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3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1_Seiten_Ebene1_Highlight"/>
            <p:cNvSpPr txBox="1"/>
            <p:nvPr/>
          </p:nvSpPr>
          <p:spPr bwMode="gray">
            <a:xfrm>
              <a:off x="6965994" y="4360359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92702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36939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356992"/>
            <a:ext cx="2808312" cy="496409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Fahrlagen, Systemtrassen un</a:t>
            </a:r>
            <a:r>
              <a:rPr lang="de-DE" sz="1200" dirty="0" smtClean="0">
                <a:latin typeface="DB Office" pitchFamily="34" charset="0"/>
              </a:rPr>
              <a:t>d Schneideregeln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 laden</a:t>
            </a: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178703"/>
              </p:ext>
            </p:extLst>
          </p:nvPr>
        </p:nvGraphicFramePr>
        <p:xfrm>
          <a:off x="4494179" y="1628750"/>
          <a:ext cx="4128951" cy="1280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6393"/>
                <a:gridCol w="1388337"/>
                <a:gridCol w="936130"/>
                <a:gridCol w="648091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ahrlage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kehrstages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o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ach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1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0,1,1,0,1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2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0,1,1,1,0,0,0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0,0,1,1,1,0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Z (über Q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35" name="Gruppieren 34"/>
          <p:cNvGrpSpPr/>
          <p:nvPr/>
        </p:nvGrpSpPr>
        <p:grpSpPr>
          <a:xfrm>
            <a:off x="6615312" y="4036503"/>
            <a:ext cx="2295855" cy="2344907"/>
            <a:chOff x="7908370" y="1171328"/>
            <a:chExt cx="1517963" cy="1385525"/>
          </a:xfrm>
        </p:grpSpPr>
        <p:cxnSp>
          <p:nvCxnSpPr>
            <p:cNvPr id="36" name="Gerade Verbindung mit Pfeil 35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Textfeld 38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feld 40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1" name="Textfeld 4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5036"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aphicFrame>
        <p:nvGraphicFramePr>
          <p:cNvPr id="48" name="Tabel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595481"/>
              </p:ext>
            </p:extLst>
          </p:nvPr>
        </p:nvGraphicFramePr>
        <p:xfrm>
          <a:off x="3887492" y="3089379"/>
          <a:ext cx="5582495" cy="81054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88142"/>
                <a:gridCol w="1643501"/>
                <a:gridCol w="2250852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chneideregel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Bit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Beschreibung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r. 1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1,1,0,0,0,0) / (0,0,0,1,1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Zwischen Tag 3</a:t>
                      </a:r>
                      <a:r>
                        <a:rPr lang="de-DE" sz="1200" baseline="0" dirty="0" smtClean="0"/>
                        <a:t> und 4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377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0934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</a:t>
            </a:r>
            <a:r>
              <a:rPr lang="de-DE" dirty="0"/>
              <a:t>2/13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493361"/>
            <a:ext cx="2808312" cy="36004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B Office" pitchFamily="34" charset="0"/>
              </a:rPr>
              <a:t>Partitionierung der </a:t>
            </a:r>
            <a:r>
              <a:rPr lang="de-DE" sz="1200" dirty="0" smtClean="0">
                <a:latin typeface="DB Office" pitchFamily="34" charset="0"/>
              </a:rPr>
              <a:t>Fahrlag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800"/>
            <a:ext cx="0" cy="1864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hteck 44"/>
              <p:cNvSpPr/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0,1,1,0,1,1,1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45" name="Rechteck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/>
              <p:cNvSpPr/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46" name="Rechteck 4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blipFill rotWithShape="1">
                <a:blip r:embed="rId3"/>
                <a:stretch>
                  <a:fillRect r="-215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7" name="Gerade Verbindung 46"/>
          <p:cNvCxnSpPr>
            <a:stCxn id="45" idx="2"/>
            <a:endCxn id="46" idx="0"/>
          </p:cNvCxnSpPr>
          <p:nvPr/>
        </p:nvCxnSpPr>
        <p:spPr bwMode="auto">
          <a:xfrm>
            <a:off x="5541011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feld 48"/>
          <p:cNvSpPr txBox="1"/>
          <p:nvPr/>
        </p:nvSpPr>
        <p:spPr>
          <a:xfrm>
            <a:off x="4850006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hteck 50"/>
              <p:cNvSpPr/>
              <p:nvPr/>
            </p:nvSpPr>
            <p:spPr bwMode="auto">
              <a:xfrm>
                <a:off x="6545232" y="3171718"/>
                <a:ext cx="1396252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0,1,1,1,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51" name="Rechteck 5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545232" y="3171718"/>
                <a:ext cx="1396252" cy="553998"/>
              </a:xfrm>
              <a:prstGeom prst="rect">
                <a:avLst/>
              </a:prstGeom>
              <a:blipFill rotWithShape="1">
                <a:blip r:embed="rId4"/>
                <a:stretch>
                  <a:fillRect r="-1732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hteck 51"/>
              <p:cNvSpPr/>
              <p:nvPr/>
            </p:nvSpPr>
            <p:spPr bwMode="auto">
              <a:xfrm>
                <a:off x="6545232" y="4157764"/>
                <a:ext cx="1396252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52" name="Rechteck 5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545232" y="4157764"/>
                <a:ext cx="1396252" cy="711396"/>
              </a:xfrm>
              <a:prstGeom prst="rect">
                <a:avLst/>
              </a:prstGeom>
              <a:blipFill rotWithShape="1">
                <a:blip r:embed="rId5"/>
                <a:stretch>
                  <a:fillRect r="-1732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52"/>
          <p:cNvCxnSpPr>
            <a:stCxn id="51" idx="2"/>
            <a:endCxn id="52" idx="0"/>
          </p:cNvCxnSpPr>
          <p:nvPr/>
        </p:nvCxnSpPr>
        <p:spPr bwMode="auto">
          <a:xfrm>
            <a:off x="7243358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extfeld 54"/>
          <p:cNvSpPr txBox="1"/>
          <p:nvPr/>
        </p:nvSpPr>
        <p:spPr>
          <a:xfrm>
            <a:off x="3654475" y="317171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ein Schnitt (ursprüngliche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3654475" y="425183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</a:rPr>
              <a:t>Nach  Ausführung 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chnitt Nr. 1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7" name="Rechteck 56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g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</p:txBody>
          </p:sp>
        </mc:Choice>
        <mc:Fallback>
          <p:sp>
            <p:nvSpPr>
              <p:cNvPr id="57" name="Rechteck 5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feld 66"/>
          <p:cNvSpPr txBox="1"/>
          <p:nvPr/>
        </p:nvSpPr>
        <p:spPr>
          <a:xfrm>
            <a:off x="6534839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8273472" y="3171718"/>
                <a:ext cx="1396252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3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1,0,0,1,1,1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273472" y="3171718"/>
                <a:ext cx="1396252" cy="553998"/>
              </a:xfrm>
              <a:prstGeom prst="rect">
                <a:avLst/>
              </a:prstGeom>
              <a:blipFill rotWithShape="1">
                <a:blip r:embed="rId7"/>
                <a:stretch>
                  <a:fillRect r="-216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/>
              <p:cNvSpPr/>
              <p:nvPr/>
            </p:nvSpPr>
            <p:spPr bwMode="auto">
              <a:xfrm>
                <a:off x="8273472" y="4157764"/>
                <a:ext cx="1396252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1,1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25" name="Rechteck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273472" y="4157764"/>
                <a:ext cx="1396252" cy="711396"/>
              </a:xfrm>
              <a:prstGeom prst="rect">
                <a:avLst/>
              </a:prstGeom>
              <a:blipFill rotWithShape="1">
                <a:blip r:embed="rId8"/>
                <a:stretch>
                  <a:fillRect r="-216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6" name="Gerade Verbindung 25"/>
          <p:cNvCxnSpPr>
            <a:stCxn id="24" idx="2"/>
            <a:endCxn id="25" idx="0"/>
          </p:cNvCxnSpPr>
          <p:nvPr/>
        </p:nvCxnSpPr>
        <p:spPr bwMode="auto">
          <a:xfrm>
            <a:off x="8971598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/>
          <p:cNvSpPr txBox="1"/>
          <p:nvPr/>
        </p:nvSpPr>
        <p:spPr>
          <a:xfrm>
            <a:off x="8263079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8377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2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</a:t>
            </a:r>
            <a:r>
              <a:rPr lang="de-DE" dirty="0"/>
              <a:t>3/13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773289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ürzeste Wegesuche je Fahrlagenvariante (für alle Partitionen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98" idx="0"/>
          </p:cNvCxnSpPr>
          <p:nvPr/>
        </p:nvCxnSpPr>
        <p:spPr bwMode="auto">
          <a:xfrm>
            <a:off x="1674255" y="3212984"/>
            <a:ext cx="0" cy="24521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750"/>
            <a:ext cx="0" cy="114453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𝑙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l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0099" y="3349353"/>
            <a:ext cx="2808312" cy="158419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sz="1200" dirty="0" smtClean="0"/>
              <a:t>Wähle je </a:t>
            </a:r>
            <a:r>
              <a:rPr lang="de-DE" sz="1200" dirty="0" err="1" smtClean="0"/>
              <a:t>Fahrlage</a:t>
            </a:r>
            <a:r>
              <a:rPr lang="de-DE" sz="1200" dirty="0" smtClean="0"/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die Partition mit der besten Qualitätskennzahl, </a:t>
            </a:r>
            <a:r>
              <a:rPr lang="de-DE" sz="1200" dirty="0" smtClean="0"/>
              <a:t>für die ein Weg gefunden wird (d.h. für alle Fahrlagenvarianten dieser Partition muss ein Weg gefunden werden)</a:t>
            </a:r>
          </a:p>
          <a:p>
            <a:pPr lvl="1"/>
            <a:r>
              <a:rPr lang="de-DE" sz="1200" dirty="0" smtClean="0"/>
              <a:t>MSMS-Wegesuche inkl. V/N mit Bit-Schlüssel der Fahrlagenvariant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0" name="Tabelle 4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37409195"/>
                  </p:ext>
                </p:extLst>
              </p:nvPr>
            </p:nvGraphicFramePr>
            <p:xfrm>
              <a:off x="3624096" y="2649120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50" name="Tabelle 4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37409195"/>
                  </p:ext>
                </p:extLst>
              </p:nvPr>
            </p:nvGraphicFramePr>
            <p:xfrm>
              <a:off x="3624096" y="2649120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27500" r="-505109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27500" r="-274054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227500" r="-101992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27500" r="-505109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27500" r="-274054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327500" r="-101992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17073" r="-274054" b="-6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417073" r="-101992" b="-6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530000" r="-505109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530000" r="-274054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530000" r="-101992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30000" r="-274054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630000" r="-101992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12195" r="-274054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712195" r="-101992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832500" r="-505109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832500" r="-274054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832500" r="-101992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09756" r="-274054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909756" r="-101992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1035000" r="-274054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1035000" r="-101992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58" name="Gruppieren 57"/>
          <p:cNvGrpSpPr/>
          <p:nvPr/>
        </p:nvGrpSpPr>
        <p:grpSpPr>
          <a:xfrm rot="-5400000">
            <a:off x="7727242" y="649818"/>
            <a:ext cx="666748" cy="3051557"/>
            <a:chOff x="8246488" y="982418"/>
            <a:chExt cx="694698" cy="1727191"/>
          </a:xfrm>
        </p:grpSpPr>
        <p:cxnSp>
          <p:nvCxnSpPr>
            <p:cNvPr id="59" name="Gerade Verbindung mit Pfeil 5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mit Pfeil 6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" name="Textfeld 61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67" name="Textfeld 66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Textfeld 95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96" name="Textfeld 9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290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lang="de-DE" sz="1200" kern="0" dirty="0" err="1">
                    <a:solidFill>
                      <a:srgbClr val="000000"/>
                    </a:solidFill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l="-54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98" name="Abgerundetes Rechteck 97"/>
          <p:cNvSpPr/>
          <p:nvPr/>
        </p:nvSpPr>
        <p:spPr bwMode="auto">
          <a:xfrm>
            <a:off x="270099" y="5665127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99" name="Gerade Verbindung mit Pfeil 98"/>
          <p:cNvCxnSpPr>
            <a:stCxn id="98" idx="2"/>
          </p:cNvCxnSpPr>
          <p:nvPr/>
        </p:nvCxnSpPr>
        <p:spPr bwMode="auto">
          <a:xfrm>
            <a:off x="1674255" y="6104822"/>
            <a:ext cx="0" cy="3485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Textfeld 99"/>
          <p:cNvSpPr txBox="1"/>
          <p:nvPr/>
        </p:nvSpPr>
        <p:spPr>
          <a:xfrm>
            <a:off x="3635501" y="5777252"/>
            <a:ext cx="27363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smtClean="0"/>
              <a:t>SAT-Problem nicht lösbar</a:t>
            </a:r>
          </a:p>
        </p:txBody>
      </p:sp>
    </p:spTree>
    <p:extLst>
      <p:ext uri="{BB962C8B-B14F-4D97-AF65-F5344CB8AC3E}">
        <p14:creationId xmlns:p14="http://schemas.microsoft.com/office/powerpoint/2010/main" val="1010594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36939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4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13338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3573081"/>
            <a:ext cx="0" cy="12164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801059"/>
            <a:ext cx="0" cy="13323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ElementText1"/>
          <p:cNvSpPr txBox="1">
            <a:spLocks/>
          </p:cNvSpPr>
          <p:nvPr/>
        </p:nvSpPr>
        <p:spPr bwMode="gray">
          <a:xfrm>
            <a:off x="270099" y="3709450"/>
            <a:ext cx="2808312" cy="864096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b="1" dirty="0">
                <a:solidFill>
                  <a:srgbClr val="000000"/>
                </a:solidFill>
                <a:latin typeface="DB Office"/>
              </a:rPr>
              <a:t>Bit-Schlüssel sind </a:t>
            </a:r>
            <a:r>
              <a:rPr lang="de-DE" sz="1200" b="1" dirty="0" smtClean="0">
                <a:solidFill>
                  <a:srgbClr val="000000"/>
                </a:solidFill>
                <a:latin typeface="DB Office"/>
              </a:rPr>
              <a:t>im HLMUS nicht bekannt</a:t>
            </a:r>
            <a:endParaRPr lang="de-DE" sz="1200" dirty="0" smtClean="0">
              <a:solidFill>
                <a:srgbClr val="000000"/>
              </a:solidFill>
              <a:latin typeface="DB Office"/>
            </a:endParaRP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Fahrlagen </a:t>
            </a:r>
            <a:r>
              <a:rPr lang="de-DE" sz="1200" i="1" dirty="0" smtClean="0">
                <a:solidFill>
                  <a:srgbClr val="000000"/>
                </a:solidFill>
                <a:latin typeface="DB Office"/>
              </a:rPr>
              <a:t>r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 (nicht Fahrlagenvarianten)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17431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4789570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229265"/>
            <a:ext cx="0" cy="10801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ElementText1"/>
          <p:cNvSpPr txBox="1">
            <a:spLocks/>
          </p:cNvSpPr>
          <p:nvPr/>
        </p:nvSpPr>
        <p:spPr bwMode="gray">
          <a:xfrm>
            <a:off x="270099" y="5373282"/>
            <a:ext cx="2808312" cy="43204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Systemtrassen und Halteplätze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7463093" y="3532433"/>
            <a:ext cx="2295855" cy="2344907"/>
            <a:chOff x="7908370" y="1171328"/>
            <a:chExt cx="1517963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Textfeld 59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60" name="Textfeld 5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1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870555" y="5319734"/>
            <a:ext cx="295232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/>
              <a:t>Systemtrasse s</a:t>
            </a:r>
            <a:r>
              <a:rPr lang="de-DE" sz="1200" baseline="-25000" dirty="0"/>
              <a:t>1</a:t>
            </a:r>
            <a:r>
              <a:rPr lang="de-DE" sz="1200" dirty="0"/>
              <a:t> ist Engpas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67006196"/>
                  </p:ext>
                </p:extLst>
              </p:nvPr>
            </p:nvGraphicFramePr>
            <p:xfrm>
              <a:off x="3683919" y="1700760"/>
              <a:ext cx="5803330" cy="128955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33943"/>
                    <a:gridCol w="8502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67006196"/>
                  </p:ext>
                </p:extLst>
              </p:nvPr>
            </p:nvGraphicFramePr>
            <p:xfrm>
              <a:off x="3683919" y="1700760"/>
              <a:ext cx="5803330" cy="128955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33943"/>
                    <a:gridCol w="8502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</a:t>
                          </a:r>
                          <a:r>
                            <a:rPr lang="de-DE" sz="1000" dirty="0" smtClean="0"/>
                            <a:t>Wege-suche</a:t>
                          </a:r>
                          <a:r>
                            <a:rPr lang="de-DE" sz="1000" dirty="0" smtClean="0"/>
                            <a:t>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221951" r="-495000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221951" r="-274595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221951" r="-101587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330000" r="-495000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330000" r="-274595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330000" r="-101587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419512" r="-495000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419512" r="-274595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419512" r="-101587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17847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93733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5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1765135"/>
            <a:ext cx="2808312" cy="51170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Prüfung aller Fahrlagenvarianten der Fahrlagen im Makrokonflikt auf Konfliktzeitpunkt</a:t>
            </a:r>
            <a:endParaRPr lang="de-DE" sz="1200" dirty="0"/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>
            <a:off x="1674255" y="1619617"/>
            <a:ext cx="0" cy="1455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97" idx="0"/>
          </p:cNvCxnSpPr>
          <p:nvPr/>
        </p:nvCxnSpPr>
        <p:spPr bwMode="auto">
          <a:xfrm flipH="1">
            <a:off x="1659498" y="2276840"/>
            <a:ext cx="14757" cy="14800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ElementText1"/>
          <p:cNvSpPr txBox="1">
            <a:spLocks/>
          </p:cNvSpPr>
          <p:nvPr/>
        </p:nvSpPr>
        <p:spPr bwMode="gray">
          <a:xfrm>
            <a:off x="270422" y="2447237"/>
            <a:ext cx="2808312" cy="1125783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/>
              <a:t>Paarweiser Vergleich aller Fahrlagenvarianten der Fahrlagen im Makrokonflikt, die zu dem Zeitpunkt die betroffene Systemtrasse</a:t>
            </a:r>
            <a:r>
              <a:rPr lang="de-DE" sz="1200" dirty="0" smtClean="0"/>
              <a:t>/ Systemtrassen </a:t>
            </a:r>
            <a:r>
              <a:rPr lang="de-DE" sz="1200" dirty="0"/>
              <a:t>in der Menge der nutzbaren Systemtrassen </a:t>
            </a:r>
            <a:r>
              <a:rPr lang="de-DE" sz="1200" dirty="0" smtClean="0"/>
              <a:t>enthalten</a:t>
            </a:r>
            <a:endParaRPr lang="de-DE" sz="1200" dirty="0"/>
          </a:p>
        </p:txBody>
      </p: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/>
              <a:t>s</a:t>
            </a:r>
            <a:r>
              <a:rPr lang="de-DE" sz="1200" baseline="-25000" dirty="0"/>
              <a:t>1</a:t>
            </a:r>
            <a:r>
              <a:rPr lang="de-DE" sz="1200" dirty="0"/>
              <a:t> </a:t>
            </a:r>
            <a:r>
              <a:rPr lang="de-DE" sz="1200" dirty="0" smtClean="0"/>
              <a:t>(einziger Engpass)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Rechteck 39"/>
              <p:cNvSpPr/>
              <p:nvPr/>
            </p:nvSpPr>
            <p:spPr bwMode="auto">
              <a:xfrm>
                <a:off x="3878239" y="2496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0" name="Rechteck 3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2496320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/>
          <p:cNvCxnSpPr>
            <a:stCxn id="40" idx="3"/>
            <a:endCxn id="44" idx="1"/>
          </p:cNvCxnSpPr>
          <p:nvPr/>
        </p:nvCxnSpPr>
        <p:spPr bwMode="auto">
          <a:xfrm>
            <a:off x="5100869" y="2642938"/>
            <a:ext cx="59004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5690911" y="2496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690911" y="2496320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5279572" y="2469460"/>
            <a:ext cx="57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5690911" y="277225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690911" y="277225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hteck 50"/>
              <p:cNvSpPr/>
              <p:nvPr/>
            </p:nvSpPr>
            <p:spPr bwMode="auto">
              <a:xfrm>
                <a:off x="3878239" y="277225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1" name="Rechteck 5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2772255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Gerade Verbindung mit Pfeil 51"/>
          <p:cNvCxnSpPr>
            <a:stCxn id="51" idx="3"/>
            <a:endCxn id="50" idx="1"/>
          </p:cNvCxnSpPr>
          <p:nvPr/>
        </p:nvCxnSpPr>
        <p:spPr bwMode="auto">
          <a:xfrm>
            <a:off x="5100869" y="2918873"/>
            <a:ext cx="59004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winkelte Verbindung 52"/>
          <p:cNvCxnSpPr>
            <a:endCxn id="50" idx="1"/>
          </p:cNvCxnSpPr>
          <p:nvPr/>
        </p:nvCxnSpPr>
        <p:spPr bwMode="auto">
          <a:xfrm rot="16200000" flipH="1">
            <a:off x="5152687" y="2380649"/>
            <a:ext cx="552140" cy="524307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winkelte Verbindung 61"/>
          <p:cNvCxnSpPr>
            <a:stCxn id="42" idx="2"/>
            <a:endCxn id="44" idx="1"/>
          </p:cNvCxnSpPr>
          <p:nvPr/>
        </p:nvCxnSpPr>
        <p:spPr bwMode="auto">
          <a:xfrm rot="16200000" flipH="1">
            <a:off x="5305608" y="2257634"/>
            <a:ext cx="288893" cy="48171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Rechteck 41"/>
              <p:cNvSpPr/>
              <p:nvPr/>
            </p:nvSpPr>
            <p:spPr bwMode="auto">
              <a:xfrm>
                <a:off x="4597882" y="206081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/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2" name="Rechteck 4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97882" y="2060810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0" name="Rechteck 79"/>
              <p:cNvSpPr/>
              <p:nvPr/>
            </p:nvSpPr>
            <p:spPr bwMode="auto">
              <a:xfrm>
                <a:off x="7400499" y="262563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80" name="Rechteck 7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400499" y="2625637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2" name="Gerade Verbindung 81"/>
          <p:cNvCxnSpPr>
            <a:stCxn id="44" idx="3"/>
            <a:endCxn id="80" idx="1"/>
          </p:cNvCxnSpPr>
          <p:nvPr/>
        </p:nvCxnSpPr>
        <p:spPr bwMode="auto">
          <a:xfrm>
            <a:off x="6913541" y="2642938"/>
            <a:ext cx="486958" cy="1293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 Verbindung 83"/>
          <p:cNvCxnSpPr>
            <a:stCxn id="50" idx="3"/>
            <a:endCxn id="80" idx="1"/>
          </p:cNvCxnSpPr>
          <p:nvPr/>
        </p:nvCxnSpPr>
        <p:spPr bwMode="auto">
          <a:xfrm flipV="1">
            <a:off x="6913541" y="2772255"/>
            <a:ext cx="486958" cy="1466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Gerade Verbindung mit Pfeil 95"/>
          <p:cNvCxnSpPr>
            <a:stCxn id="97" idx="2"/>
            <a:endCxn id="99" idx="0"/>
          </p:cNvCxnSpPr>
          <p:nvPr/>
        </p:nvCxnSpPr>
        <p:spPr bwMode="auto">
          <a:xfrm>
            <a:off x="1659498" y="5301260"/>
            <a:ext cx="0" cy="3524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Raute 96"/>
          <p:cNvSpPr/>
          <p:nvPr/>
        </p:nvSpPr>
        <p:spPr bwMode="auto">
          <a:xfrm>
            <a:off x="255342" y="3756863"/>
            <a:ext cx="2808312" cy="1544397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1752246" y="5373270"/>
            <a:ext cx="2885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nein</a:t>
            </a:r>
          </a:p>
        </p:txBody>
      </p:sp>
      <p:sp>
        <p:nvSpPr>
          <p:cNvPr id="99" name="Abgerundetes Rechteck 98"/>
          <p:cNvSpPr/>
          <p:nvPr/>
        </p:nvSpPr>
        <p:spPr bwMode="auto">
          <a:xfrm>
            <a:off x="255342" y="565367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ystemtrassen und Halteplätze zum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Zeitpunkt sper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00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44118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Nein, </a:t>
            </a:r>
            <a:r>
              <a:rPr lang="de-DE" sz="1200" dirty="0"/>
              <a:t>die Tage </a:t>
            </a:r>
            <a:r>
              <a:rPr lang="de-DE" sz="1200" dirty="0" smtClean="0"/>
              <a:t>2,3 </a:t>
            </a:r>
            <a:r>
              <a:rPr lang="de-DE" sz="1200" dirty="0"/>
              <a:t>auf s</a:t>
            </a:r>
            <a:r>
              <a:rPr lang="de-DE" sz="1200" baseline="-25000" dirty="0"/>
              <a:t>1</a:t>
            </a:r>
            <a:r>
              <a:rPr lang="de-DE" sz="1200" dirty="0"/>
              <a:t> </a:t>
            </a:r>
            <a:r>
              <a:rPr lang="de-DE" sz="1200" dirty="0" smtClean="0"/>
              <a:t>sind Engpass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ElementText1"/>
              <p:cNvSpPr txBox="1">
                <a:spLocks/>
              </p:cNvSpPr>
              <p:nvPr>
                <p:custDataLst>
                  <p:tags r:id="rId3"/>
                </p:custDataLst>
              </p:nvPr>
            </p:nvSpPr>
            <p:spPr>
              <a:xfrm>
                <a:off x="3654475" y="5733356"/>
                <a:ext cx="5436604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 algn="l">
                  <a:spcBef>
                    <a:spcPts val="300"/>
                  </a:spcBef>
                </a:pPr>
                <a:r>
                  <a:rPr lang="de-DE" sz="1200" dirty="0" smtClean="0"/>
                  <a:t>sperre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200" b="0" i="1" kern="0" smtClean="0"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kern="0">
                            <a:latin typeface="Cambria Math"/>
                          </a:rPr>
                          <m:t>0,1,1,0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latin typeface="Cambria Math"/>
                          </a:rPr>
                          <m:t>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latin typeface="Cambria Math"/>
                          </a:rPr>
                          <m:t>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</m:e>
                    </m:d>
                  </m:oMath>
                </a14:m>
                <a:r>
                  <a:rPr lang="de-DE" sz="1200" dirty="0" smtClean="0"/>
                  <a:t> für </a:t>
                </a:r>
                <a:r>
                  <a:rPr lang="de-DE" sz="1200" dirty="0"/>
                  <a:t>s</a:t>
                </a:r>
                <a:r>
                  <a:rPr lang="de-DE" sz="1200" baseline="-25000" dirty="0"/>
                  <a:t>1</a:t>
                </a:r>
                <a:endParaRPr lang="de-DE" sz="1200" dirty="0"/>
              </a:p>
            </p:txBody>
          </p:sp>
        </mc:Choice>
        <mc:Fallback xmlns="">
          <p:sp>
            <p:nvSpPr>
              <p:cNvPr id="101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3654475" y="5733356"/>
                <a:ext cx="5436604" cy="241336"/>
              </a:xfrm>
              <a:prstGeom prst="rect">
                <a:avLst/>
              </a:prstGeom>
              <a:blipFill rotWithShape="1">
                <a:blip r:embed="rId12"/>
                <a:stretch>
                  <a:fillRect l="-1233" t="-23077" b="-128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878239" y="3071272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3071272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Multiplizieren 37"/>
          <p:cNvSpPr/>
          <p:nvPr/>
        </p:nvSpPr>
        <p:spPr bwMode="auto">
          <a:xfrm>
            <a:off x="4221185" y="3071272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141284" y="3142532"/>
            <a:ext cx="20561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*r</a:t>
            </a:r>
            <a:r>
              <a:rPr lang="de-DE" sz="1200" baseline="-25000" dirty="0" smtClean="0"/>
              <a:t>3 </a:t>
            </a:r>
            <a:r>
              <a:rPr lang="de-DE" sz="1200" dirty="0"/>
              <a:t>nicht </a:t>
            </a:r>
            <a:r>
              <a:rPr lang="de-DE" sz="1200" dirty="0" smtClean="0"/>
              <a:t>im Makrokonflik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6987219" y="2478592"/>
            <a:ext cx="57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</p:spTree>
    <p:extLst>
      <p:ext uri="{BB962C8B-B14F-4D97-AF65-F5344CB8AC3E}">
        <p14:creationId xmlns:p14="http://schemas.microsoft.com/office/powerpoint/2010/main" val="286869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-netze_grau.potx"/>
  <p:tag name="CREATEDBY" val="TW_CP"/>
  <p:tag name="AGENDAPIC" val=""/>
  <p:tag name="LANGUAGE" val="german"/>
  <p:tag name="SHOWAGENDASLIDENUMBER" val="n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2"/>
  <p:tag name="AGENDAEBENE" val="1"/>
  <p:tag name="AGENDAITEM" val="Rechenbeispiel SAT ganzjähr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3"/>
  <p:tag name="AGENDAEBENE" val="1"/>
  <p:tag name="AGENDAITEM" val="Abschätzung Rechenaufwand zur Bestimmung zeitlicher Konflik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4"/>
  <p:tag name="AGENDAEBENE" val="1"/>
  <p:tag name="AGENDAITEM" val="Anpassung SAT-Kodieru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PUNKT" val="1"/>
  <p:tag name="AGENDAFIRSTCHAPTER" val="1"/>
  <p:tag name="AGENDASHOW2NDLEVEL" val="0"/>
  <p:tag name="AGENDAEBENE" val="1"/>
  <p:tag name="AGENDAITEM" val="Ablauf SAT ganzjähr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5"/>
  <p:tag name="AGENDAEBENE" val="1"/>
  <p:tag name="AGENDAITEM" val="Anpassung Fahrlagen-Kodierung (EncodeRequest)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heme/theme1.xml><?xml version="1.0" encoding="utf-8"?>
<a:theme xmlns:a="http://schemas.openxmlformats.org/drawingml/2006/main" name="© DB 2016">
  <a:themeElements>
    <a:clrScheme name="DB_grau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395</Words>
  <Application>Microsoft Office PowerPoint</Application>
  <PresentationFormat>Benutzerdefiniert</PresentationFormat>
  <Paragraphs>1006</Paragraphs>
  <Slides>28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29" baseType="lpstr">
      <vt:lpstr>© DB 2016</vt:lpstr>
      <vt:lpstr>PowerPoint-Präsentation</vt:lpstr>
      <vt:lpstr>Inhalt </vt:lpstr>
      <vt:lpstr>PowerPoint-Präsentation</vt:lpstr>
      <vt:lpstr>Inhalt </vt:lpstr>
      <vt:lpstr>Ablauf SAT-Modell in der ganzjährigen Belegung (1/13)</vt:lpstr>
      <vt:lpstr>Ablauf SAT-Modell in der ganzjährigen Belegung (2/13)</vt:lpstr>
      <vt:lpstr>Ablauf SAT-Modell in der ganzjährigen Belegung (3/13)</vt:lpstr>
      <vt:lpstr>Ablauf SAT-Modell in der ganzjährigen Belegung (4/13)</vt:lpstr>
      <vt:lpstr>Ablauf SAT-Modell in der ganzjährigen Belegung (5/13)</vt:lpstr>
      <vt:lpstr>Ablauf SAT-Modell in der ganzjährigen Belegung (6/13)</vt:lpstr>
      <vt:lpstr>Ablauf SAT-Modell in der ganzjährigen Belegung (7/13)</vt:lpstr>
      <vt:lpstr>Ablauf SAT-Modell in der ganzjährigen Belegung (8/13)</vt:lpstr>
      <vt:lpstr>Ablauf SAT-Modell in der ganzjährigen Belegung (9/13)</vt:lpstr>
      <vt:lpstr>Ablauf SAT-Modell in der ganzjährigen Belegung (10/13)</vt:lpstr>
      <vt:lpstr>Ablauf SAT-Modell in der ganzjährigen Belegung (11/13)</vt:lpstr>
      <vt:lpstr>Ablauf SAT-Modell in der ganzjährigen Belegung (12/13)</vt:lpstr>
      <vt:lpstr>Ablauf SAT-Modell in der ganzjährigen Belegung (13/13)</vt:lpstr>
      <vt:lpstr>Inhalt </vt:lpstr>
      <vt:lpstr>Anzahl zu prüfende paarweise Verknüpfungen von Fahrlagenvarianten zur Konfliktzeitpunktbestimmung</vt:lpstr>
      <vt:lpstr>Inhalt </vt:lpstr>
      <vt:lpstr>In der Kodierung sind die Fahrlagen r durch Fahrlagenvarianten x zu ersetzen…</vt:lpstr>
      <vt:lpstr>… und um zusätzliche Nebenbedingungen zu erweitern</vt:lpstr>
      <vt:lpstr>Inhalt </vt:lpstr>
      <vt:lpstr>Kodierung Fahrlagen SAT-ganzjährig (1/4)  Rechenbeispiel</vt:lpstr>
      <vt:lpstr>Kodierung Fahrlagen SAT-ganzjährig (2/4)  Rechenbeispiel</vt:lpstr>
      <vt:lpstr>Kodierung Fahrlagen SAT-ganzjährig (3/4) Rechenbeispiel </vt:lpstr>
      <vt:lpstr>Kodierung Fahrlagen SAT-ganzjährig (4/4) Rechenbeispiel </vt:lpstr>
      <vt:lpstr>Kodierung Fahrlagen SAT-ganzjährig Abgeleitete Regeln</vt:lpstr>
    </vt:vector>
  </TitlesOfParts>
  <Company>DB Netz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ispiel</dc:title>
  <dc:subject>aufteilen und sperren mit Flv</dc:subject>
  <dc:creator/>
  <cp:lastModifiedBy>Breun, Patrick</cp:lastModifiedBy>
  <cp:revision>298</cp:revision>
  <cp:lastPrinted>2015-08-04T09:23:29Z</cp:lastPrinted>
  <dcterms:created xsi:type="dcterms:W3CDTF">2005-02-21T07:36:49Z</dcterms:created>
  <dcterms:modified xsi:type="dcterms:W3CDTF">2018-01-15T14:5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Beispiel</vt:lpwstr>
  </property>
  <property fmtid="{D5CDD505-2E9C-101B-9397-08002B2CF9AE}" pid="3" name="tw_theme">
    <vt:lpwstr>aufteilen und sperren mit Flv</vt:lpwstr>
  </property>
  <property fmtid="{D5CDD505-2E9C-101B-9397-08002B2CF9AE}" pid="4" name="tw_company">
    <vt:lpwstr>DB Netz AG</vt:lpwstr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>11.01.2018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